
<file path=[Content_Types].xml><?xml version="1.0" encoding="utf-8"?>
<Types xmlns="http://schemas.openxmlformats.org/package/2006/content-types">
  <Default Extension="jpeg" ContentType="image/jpe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1"/>
  </p:notesMasterIdLst>
  <p:handoutMasterIdLst>
    <p:handoutMasterId r:id="rId13"/>
  </p:handoutMasterIdLst>
  <p:sldIdLst>
    <p:sldId id="256" r:id="rId3"/>
    <p:sldId id="269" r:id="rId4"/>
    <p:sldId id="258" r:id="rId5"/>
    <p:sldId id="332" r:id="rId6"/>
    <p:sldId id="339" r:id="rId7"/>
    <p:sldId id="357" r:id="rId8"/>
    <p:sldId id="340" r:id="rId9"/>
    <p:sldId id="329" r:id="rId10"/>
    <p:sldId id="361" r:id="rId12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329DE856-04FC-4DC8-BC8B-ECB33C37095F}">
          <p14:sldIdLst>
            <p14:sldId id="256"/>
            <p14:sldId id="269"/>
            <p14:sldId id="258"/>
            <p14:sldId id="332"/>
            <p14:sldId id="339"/>
            <p14:sldId id="357"/>
            <p14:sldId id="340"/>
            <p14:sldId id="329"/>
            <p14:sldId id="361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6555"/>
    <a:srgbClr val="89D4F4"/>
    <a:srgbClr val="0079BF"/>
    <a:srgbClr val="FFBB3B"/>
    <a:srgbClr val="FC6C5C"/>
    <a:srgbClr val="7F7F7F"/>
    <a:srgbClr val="C8A92D"/>
    <a:srgbClr val="0094D8"/>
    <a:srgbClr val="FBD83C"/>
    <a:srgbClr val="FFCB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2784" autoAdjust="0"/>
  </p:normalViewPr>
  <p:slideViewPr>
    <p:cSldViewPr snapToGrid="0">
      <p:cViewPr varScale="1">
        <p:scale>
          <a:sx n="62" d="100"/>
          <a:sy n="62" d="100"/>
        </p:scale>
        <p:origin x="828" y="3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" Type="http://schemas.openxmlformats.org/officeDocument/2006/relationships/theme" Target="theme/theme1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handoutMaster" Target="handoutMasters/handoutMaster1.xml"/><Relationship Id="rId12" Type="http://schemas.openxmlformats.org/officeDocument/2006/relationships/slide" Target="slides/slide9.xml"/><Relationship Id="rId11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美国加州大学伯克利分校的阿曼德</a:t>
            </a:r>
            <a:r>
              <a:rPr lang="en-US" altLang="zh-CN"/>
              <a:t>·</a:t>
            </a:r>
            <a:r>
              <a:rPr lang="zh-CN" altLang="en-US"/>
              <a:t>福克斯教授，在 </a:t>
            </a:r>
            <a:r>
              <a:rPr lang="en-US" altLang="zh-CN"/>
              <a:t>MOOC </a:t>
            </a:r>
            <a:r>
              <a:rPr lang="zh-CN" altLang="en-US"/>
              <a:t>发展基础上最先提出并认为 </a:t>
            </a:r>
            <a:r>
              <a:rPr lang="en-US" altLang="zh-CN"/>
              <a:t>SPOC </a:t>
            </a:r>
            <a:r>
              <a:rPr lang="zh-CN" altLang="en-US"/>
              <a:t>是“后 </a:t>
            </a:r>
            <a:r>
              <a:rPr lang="en-US" altLang="zh-CN"/>
              <a:t>MOOC”</a:t>
            </a:r>
            <a:r>
              <a:rPr lang="zh-CN" altLang="en-US"/>
              <a:t>，是对 </a:t>
            </a:r>
            <a:r>
              <a:rPr lang="en-US" altLang="zh-CN"/>
              <a:t>MOOC </a:t>
            </a:r>
            <a:r>
              <a:rPr lang="zh-CN" altLang="en-US"/>
              <a:t>的补</a:t>
            </a:r>
            <a:endParaRPr lang="zh-CN" altLang="en-US"/>
          </a:p>
          <a:p>
            <a:r>
              <a:rPr lang="zh-CN" altLang="en-US"/>
              <a:t>充和完善，能充分地发挥 </a:t>
            </a:r>
            <a:r>
              <a:rPr lang="en-US" altLang="zh-CN"/>
              <a:t>MOOC </a:t>
            </a:r>
            <a:r>
              <a:rPr lang="zh-CN" altLang="en-US"/>
              <a:t>的潜能，将优质的 </a:t>
            </a:r>
            <a:r>
              <a:rPr lang="en-US" altLang="zh-CN"/>
              <a:t>MOOC </a:t>
            </a:r>
            <a:r>
              <a:rPr lang="zh-CN" altLang="en-US"/>
              <a:t>资源应用于学校、课</a:t>
            </a:r>
            <a:endParaRPr lang="zh-CN" altLang="en-US"/>
          </a:p>
          <a:p>
            <a:r>
              <a:rPr lang="zh-CN" altLang="en-US"/>
              <a:t>堂等类似的小环境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-10493" y="1922820"/>
            <a:ext cx="12192000" cy="339459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4" name="组合 13"/>
          <p:cNvGrpSpPr/>
          <p:nvPr userDrawn="1"/>
        </p:nvGrpSpPr>
        <p:grpSpPr>
          <a:xfrm>
            <a:off x="7233599" y="2103820"/>
            <a:ext cx="2340312" cy="3074282"/>
            <a:chOff x="6958943" y="1744618"/>
            <a:chExt cx="2869038" cy="3768827"/>
          </a:xfrm>
        </p:grpSpPr>
        <p:sp>
          <p:nvSpPr>
            <p:cNvPr id="101" name="îṣļîde"/>
            <p:cNvSpPr/>
            <p:nvPr userDrawn="1"/>
          </p:nvSpPr>
          <p:spPr bwMode="auto">
            <a:xfrm>
              <a:off x="7025476" y="1744618"/>
              <a:ext cx="2802505" cy="3768827"/>
            </a:xfrm>
            <a:custGeom>
              <a:avLst/>
              <a:gdLst>
                <a:gd name="T0" fmla="*/ 846 w 846"/>
                <a:gd name="T1" fmla="*/ 27 h 1139"/>
                <a:gd name="T2" fmla="*/ 846 w 846"/>
                <a:gd name="T3" fmla="*/ 1139 h 1139"/>
                <a:gd name="T4" fmla="*/ 0 w 846"/>
                <a:gd name="T5" fmla="*/ 1139 h 1139"/>
                <a:gd name="T6" fmla="*/ 0 w 846"/>
                <a:gd name="T7" fmla="*/ 27 h 1139"/>
                <a:gd name="T8" fmla="*/ 27 w 846"/>
                <a:gd name="T9" fmla="*/ 0 h 1139"/>
                <a:gd name="T10" fmla="*/ 819 w 846"/>
                <a:gd name="T11" fmla="*/ 0 h 1139"/>
                <a:gd name="T12" fmla="*/ 846 w 846"/>
                <a:gd name="T13" fmla="*/ 27 h 1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6" h="1139">
                  <a:moveTo>
                    <a:pt x="846" y="27"/>
                  </a:moveTo>
                  <a:cubicBezTo>
                    <a:pt x="846" y="1139"/>
                    <a:pt x="846" y="1139"/>
                    <a:pt x="846" y="1139"/>
                  </a:cubicBezTo>
                  <a:cubicBezTo>
                    <a:pt x="0" y="1139"/>
                    <a:pt x="0" y="1139"/>
                    <a:pt x="0" y="1139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34" y="0"/>
                    <a:pt x="846" y="12"/>
                    <a:pt x="846" y="27"/>
                  </a:cubicBezTo>
                </a:path>
              </a:pathLst>
            </a:custGeom>
            <a:solidFill>
              <a:srgbClr val="E8EC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2" name="îŝḷïḋé"/>
            <p:cNvSpPr/>
            <p:nvPr userDrawn="1"/>
          </p:nvSpPr>
          <p:spPr bwMode="auto">
            <a:xfrm>
              <a:off x="7140210" y="2111071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3" name="ïs1îďè"/>
            <p:cNvSpPr/>
            <p:nvPr userDrawn="1"/>
          </p:nvSpPr>
          <p:spPr bwMode="auto">
            <a:xfrm>
              <a:off x="7317852" y="2167263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4" name="íŝḷïḍè"/>
            <p:cNvSpPr/>
            <p:nvPr userDrawn="1"/>
          </p:nvSpPr>
          <p:spPr bwMode="auto">
            <a:xfrm>
              <a:off x="7694886" y="2176326"/>
              <a:ext cx="182897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5" name="ïşlïḍe"/>
            <p:cNvSpPr/>
            <p:nvPr userDrawn="1"/>
          </p:nvSpPr>
          <p:spPr bwMode="auto">
            <a:xfrm>
              <a:off x="7694886" y="2281461"/>
              <a:ext cx="1504513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6" name="ïŝļïďè"/>
            <p:cNvSpPr/>
            <p:nvPr userDrawn="1"/>
          </p:nvSpPr>
          <p:spPr bwMode="auto">
            <a:xfrm>
              <a:off x="7694886" y="2382970"/>
              <a:ext cx="1334122" cy="58005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7" name="í$ḻïḓê"/>
            <p:cNvSpPr/>
            <p:nvPr userDrawn="1"/>
          </p:nvSpPr>
          <p:spPr bwMode="auto">
            <a:xfrm>
              <a:off x="7140210" y="3222235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8" name="ïṩḻïḋe"/>
            <p:cNvSpPr/>
            <p:nvPr userDrawn="1"/>
          </p:nvSpPr>
          <p:spPr bwMode="auto">
            <a:xfrm>
              <a:off x="7317852" y="3276615"/>
              <a:ext cx="286402" cy="286402"/>
            </a:xfrm>
            <a:custGeom>
              <a:avLst/>
              <a:gdLst>
                <a:gd name="T0" fmla="*/ 158 w 158"/>
                <a:gd name="T1" fmla="*/ 158 h 158"/>
                <a:gd name="T2" fmla="*/ 0 w 158"/>
                <a:gd name="T3" fmla="*/ 158 h 158"/>
                <a:gd name="T4" fmla="*/ 0 w 158"/>
                <a:gd name="T5" fmla="*/ 0 h 158"/>
                <a:gd name="T6" fmla="*/ 158 w 158"/>
                <a:gd name="T7" fmla="*/ 0 h 158"/>
                <a:gd name="T8" fmla="*/ 158 w 158"/>
                <a:gd name="T9" fmla="*/ 158 h 158"/>
                <a:gd name="T10" fmla="*/ 11 w 158"/>
                <a:gd name="T11" fmla="*/ 144 h 158"/>
                <a:gd name="T12" fmla="*/ 144 w 158"/>
                <a:gd name="T13" fmla="*/ 144 h 158"/>
                <a:gd name="T14" fmla="*/ 144 w 158"/>
                <a:gd name="T15" fmla="*/ 12 h 158"/>
                <a:gd name="T16" fmla="*/ 11 w 158"/>
                <a:gd name="T17" fmla="*/ 12 h 158"/>
                <a:gd name="T18" fmla="*/ 11 w 158"/>
                <a:gd name="T19" fmla="*/ 14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8">
                  <a:moveTo>
                    <a:pt x="158" y="158"/>
                  </a:moveTo>
                  <a:lnTo>
                    <a:pt x="0" y="158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8"/>
                  </a:lnTo>
                  <a:close/>
                  <a:moveTo>
                    <a:pt x="11" y="144"/>
                  </a:moveTo>
                  <a:lnTo>
                    <a:pt x="144" y="144"/>
                  </a:lnTo>
                  <a:lnTo>
                    <a:pt x="144" y="12"/>
                  </a:lnTo>
                  <a:lnTo>
                    <a:pt x="11" y="12"/>
                  </a:lnTo>
                  <a:lnTo>
                    <a:pt x="11" y="144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09" name="iśľîḍê"/>
            <p:cNvSpPr/>
            <p:nvPr userDrawn="1"/>
          </p:nvSpPr>
          <p:spPr bwMode="auto">
            <a:xfrm>
              <a:off x="7694886" y="3287491"/>
              <a:ext cx="182897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0" name="iŝ1íḓe"/>
            <p:cNvSpPr/>
            <p:nvPr userDrawn="1"/>
          </p:nvSpPr>
          <p:spPr bwMode="auto">
            <a:xfrm>
              <a:off x="7694886" y="3392625"/>
              <a:ext cx="1504513" cy="56194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1" name="ïṣlîďé"/>
            <p:cNvSpPr/>
            <p:nvPr userDrawn="1"/>
          </p:nvSpPr>
          <p:spPr bwMode="auto">
            <a:xfrm>
              <a:off x="7694886" y="3494135"/>
              <a:ext cx="1334122" cy="58005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2" name="iş1îḋé"/>
            <p:cNvSpPr/>
            <p:nvPr userDrawn="1"/>
          </p:nvSpPr>
          <p:spPr bwMode="auto">
            <a:xfrm>
              <a:off x="7140210" y="4857260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3" name="íṥḻïdê"/>
            <p:cNvSpPr/>
            <p:nvPr userDrawn="1"/>
          </p:nvSpPr>
          <p:spPr bwMode="auto">
            <a:xfrm>
              <a:off x="7317852" y="4913452"/>
              <a:ext cx="286402" cy="290027"/>
            </a:xfrm>
            <a:custGeom>
              <a:avLst/>
              <a:gdLst>
                <a:gd name="T0" fmla="*/ 158 w 158"/>
                <a:gd name="T1" fmla="*/ 160 h 160"/>
                <a:gd name="T2" fmla="*/ 0 w 158"/>
                <a:gd name="T3" fmla="*/ 160 h 160"/>
                <a:gd name="T4" fmla="*/ 0 w 158"/>
                <a:gd name="T5" fmla="*/ 0 h 160"/>
                <a:gd name="T6" fmla="*/ 158 w 158"/>
                <a:gd name="T7" fmla="*/ 0 h 160"/>
                <a:gd name="T8" fmla="*/ 158 w 158"/>
                <a:gd name="T9" fmla="*/ 160 h 160"/>
                <a:gd name="T10" fmla="*/ 11 w 158"/>
                <a:gd name="T11" fmla="*/ 146 h 160"/>
                <a:gd name="T12" fmla="*/ 144 w 158"/>
                <a:gd name="T13" fmla="*/ 146 h 160"/>
                <a:gd name="T14" fmla="*/ 144 w 158"/>
                <a:gd name="T15" fmla="*/ 14 h 160"/>
                <a:gd name="T16" fmla="*/ 11 w 158"/>
                <a:gd name="T17" fmla="*/ 14 h 160"/>
                <a:gd name="T18" fmla="*/ 11 w 158"/>
                <a:gd name="T19" fmla="*/ 146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60">
                  <a:moveTo>
                    <a:pt x="158" y="160"/>
                  </a:moveTo>
                  <a:lnTo>
                    <a:pt x="0" y="160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60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4"/>
                  </a:lnTo>
                  <a:lnTo>
                    <a:pt x="11" y="14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4" name="íşḷiďe"/>
            <p:cNvSpPr/>
            <p:nvPr userDrawn="1"/>
          </p:nvSpPr>
          <p:spPr bwMode="auto">
            <a:xfrm>
              <a:off x="7694886" y="4924328"/>
              <a:ext cx="182897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5" name="ïślïḓè"/>
            <p:cNvSpPr/>
            <p:nvPr userDrawn="1"/>
          </p:nvSpPr>
          <p:spPr bwMode="auto">
            <a:xfrm>
              <a:off x="7694886" y="5029464"/>
              <a:ext cx="1504513" cy="58005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6" name="isľîďe"/>
            <p:cNvSpPr/>
            <p:nvPr userDrawn="1"/>
          </p:nvSpPr>
          <p:spPr bwMode="auto">
            <a:xfrm>
              <a:off x="7694886" y="5129159"/>
              <a:ext cx="1334122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7" name="î$ļíďè"/>
            <p:cNvSpPr/>
            <p:nvPr userDrawn="1"/>
          </p:nvSpPr>
          <p:spPr bwMode="auto">
            <a:xfrm>
              <a:off x="7140210" y="3767848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8" name="ïś1îḋê"/>
            <p:cNvSpPr/>
            <p:nvPr userDrawn="1"/>
          </p:nvSpPr>
          <p:spPr bwMode="auto">
            <a:xfrm>
              <a:off x="7140210" y="3767848"/>
              <a:ext cx="2586674" cy="3969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19" name="ïśļiďê"/>
            <p:cNvSpPr/>
            <p:nvPr userDrawn="1"/>
          </p:nvSpPr>
          <p:spPr bwMode="auto">
            <a:xfrm>
              <a:off x="7317852" y="3820414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4 h 159"/>
                <a:gd name="T16" fmla="*/ 11 w 158"/>
                <a:gd name="T17" fmla="*/ 14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4"/>
                  </a:lnTo>
                  <a:lnTo>
                    <a:pt x="11" y="14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0" name="íŝḷiďé"/>
            <p:cNvSpPr/>
            <p:nvPr userDrawn="1"/>
          </p:nvSpPr>
          <p:spPr bwMode="auto">
            <a:xfrm>
              <a:off x="7694886" y="3834916"/>
              <a:ext cx="1828979" cy="54380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1" name="íslïḑe"/>
            <p:cNvSpPr/>
            <p:nvPr userDrawn="1"/>
          </p:nvSpPr>
          <p:spPr bwMode="auto">
            <a:xfrm>
              <a:off x="7694886" y="3934613"/>
              <a:ext cx="1504513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2" name="íŝļïḍê"/>
            <p:cNvSpPr/>
            <p:nvPr userDrawn="1"/>
          </p:nvSpPr>
          <p:spPr bwMode="auto">
            <a:xfrm>
              <a:off x="7694886" y="4039748"/>
              <a:ext cx="1334122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3" name="íS1ídé"/>
            <p:cNvSpPr/>
            <p:nvPr userDrawn="1"/>
          </p:nvSpPr>
          <p:spPr bwMode="auto">
            <a:xfrm>
              <a:off x="7140210" y="4315273"/>
              <a:ext cx="2586674" cy="393349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4" name="ïSḻídè"/>
            <p:cNvSpPr/>
            <p:nvPr userDrawn="1"/>
          </p:nvSpPr>
          <p:spPr bwMode="auto">
            <a:xfrm>
              <a:off x="7140210" y="4315273"/>
              <a:ext cx="2586674" cy="393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5" name="ïşlîḋe"/>
            <p:cNvSpPr/>
            <p:nvPr userDrawn="1"/>
          </p:nvSpPr>
          <p:spPr bwMode="auto">
            <a:xfrm>
              <a:off x="7317852" y="4367840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6" name="íśľidé"/>
            <p:cNvSpPr/>
            <p:nvPr userDrawn="1"/>
          </p:nvSpPr>
          <p:spPr bwMode="auto">
            <a:xfrm>
              <a:off x="7317852" y="4367840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7" name="isḷïḍé"/>
            <p:cNvSpPr/>
            <p:nvPr userDrawn="1"/>
          </p:nvSpPr>
          <p:spPr bwMode="auto">
            <a:xfrm>
              <a:off x="7694886" y="4376904"/>
              <a:ext cx="182897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8" name="işḻîďê"/>
            <p:cNvSpPr/>
            <p:nvPr userDrawn="1"/>
          </p:nvSpPr>
          <p:spPr bwMode="auto">
            <a:xfrm>
              <a:off x="7694886" y="4482038"/>
              <a:ext cx="1504513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29" name="ïşļiḋê"/>
            <p:cNvSpPr/>
            <p:nvPr userDrawn="1"/>
          </p:nvSpPr>
          <p:spPr bwMode="auto">
            <a:xfrm>
              <a:off x="7694886" y="4587173"/>
              <a:ext cx="1334122" cy="54380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0" name="îṧ1ïdé"/>
            <p:cNvSpPr/>
            <p:nvPr userDrawn="1"/>
          </p:nvSpPr>
          <p:spPr bwMode="auto">
            <a:xfrm>
              <a:off x="7091268" y="2731002"/>
              <a:ext cx="2590299" cy="396974"/>
            </a:xfrm>
            <a:custGeom>
              <a:avLst/>
              <a:gdLst>
                <a:gd name="T0" fmla="*/ 27 w 1429"/>
                <a:gd name="T1" fmla="*/ 0 h 219"/>
                <a:gd name="T2" fmla="*/ 0 w 1429"/>
                <a:gd name="T3" fmla="*/ 0 h 219"/>
                <a:gd name="T4" fmla="*/ 0 w 1429"/>
                <a:gd name="T5" fmla="*/ 219 h 219"/>
                <a:gd name="T6" fmla="*/ 1429 w 1429"/>
                <a:gd name="T7" fmla="*/ 219 h 219"/>
                <a:gd name="T8" fmla="*/ 1429 w 1429"/>
                <a:gd name="T9" fmla="*/ 188 h 219"/>
                <a:gd name="T10" fmla="*/ 27 w 1429"/>
                <a:gd name="T11" fmla="*/ 188 h 219"/>
                <a:gd name="T12" fmla="*/ 27 w 1429"/>
                <a:gd name="T13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9" h="219">
                  <a:moveTo>
                    <a:pt x="27" y="0"/>
                  </a:moveTo>
                  <a:lnTo>
                    <a:pt x="0" y="0"/>
                  </a:lnTo>
                  <a:lnTo>
                    <a:pt x="0" y="219"/>
                  </a:lnTo>
                  <a:lnTo>
                    <a:pt x="1429" y="219"/>
                  </a:lnTo>
                  <a:lnTo>
                    <a:pt x="1429" y="188"/>
                  </a:lnTo>
                  <a:lnTo>
                    <a:pt x="27" y="188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DDE0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1" name="ïṣľíḍe"/>
            <p:cNvSpPr/>
            <p:nvPr userDrawn="1"/>
          </p:nvSpPr>
          <p:spPr bwMode="auto">
            <a:xfrm>
              <a:off x="7091268" y="2731002"/>
              <a:ext cx="2590299" cy="396974"/>
            </a:xfrm>
            <a:custGeom>
              <a:avLst/>
              <a:gdLst>
                <a:gd name="T0" fmla="*/ 27 w 1429"/>
                <a:gd name="T1" fmla="*/ 0 h 219"/>
                <a:gd name="T2" fmla="*/ 0 w 1429"/>
                <a:gd name="T3" fmla="*/ 0 h 219"/>
                <a:gd name="T4" fmla="*/ 0 w 1429"/>
                <a:gd name="T5" fmla="*/ 219 h 219"/>
                <a:gd name="T6" fmla="*/ 1429 w 1429"/>
                <a:gd name="T7" fmla="*/ 219 h 219"/>
                <a:gd name="T8" fmla="*/ 1429 w 1429"/>
                <a:gd name="T9" fmla="*/ 188 h 219"/>
                <a:gd name="T10" fmla="*/ 27 w 1429"/>
                <a:gd name="T11" fmla="*/ 188 h 219"/>
                <a:gd name="T12" fmla="*/ 27 w 1429"/>
                <a:gd name="T13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9" h="219">
                  <a:moveTo>
                    <a:pt x="27" y="0"/>
                  </a:moveTo>
                  <a:lnTo>
                    <a:pt x="0" y="0"/>
                  </a:lnTo>
                  <a:lnTo>
                    <a:pt x="0" y="219"/>
                  </a:lnTo>
                  <a:lnTo>
                    <a:pt x="1429" y="219"/>
                  </a:lnTo>
                  <a:lnTo>
                    <a:pt x="1429" y="188"/>
                  </a:lnTo>
                  <a:lnTo>
                    <a:pt x="27" y="188"/>
                  </a:lnTo>
                  <a:lnTo>
                    <a:pt x="2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2" name="îśḻíḍe"/>
            <p:cNvSpPr/>
            <p:nvPr userDrawn="1"/>
          </p:nvSpPr>
          <p:spPr bwMode="auto">
            <a:xfrm>
              <a:off x="7140210" y="2674810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3" name="ïSļíḋe"/>
            <p:cNvSpPr/>
            <p:nvPr userDrawn="1"/>
          </p:nvSpPr>
          <p:spPr bwMode="auto">
            <a:xfrm>
              <a:off x="7140210" y="2674810"/>
              <a:ext cx="2586674" cy="3969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4" name="î$1íďè"/>
            <p:cNvSpPr/>
            <p:nvPr userDrawn="1"/>
          </p:nvSpPr>
          <p:spPr bwMode="auto">
            <a:xfrm>
              <a:off x="7317852" y="2731002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5" name="îś1îḍè"/>
            <p:cNvSpPr/>
            <p:nvPr userDrawn="1"/>
          </p:nvSpPr>
          <p:spPr bwMode="auto">
            <a:xfrm>
              <a:off x="7317852" y="2731002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6" name="î$1idê"/>
            <p:cNvSpPr/>
            <p:nvPr userDrawn="1"/>
          </p:nvSpPr>
          <p:spPr bwMode="auto">
            <a:xfrm>
              <a:off x="7694886" y="2741879"/>
              <a:ext cx="1828979" cy="58005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7" name="íŝľîdé"/>
            <p:cNvSpPr/>
            <p:nvPr userDrawn="1"/>
          </p:nvSpPr>
          <p:spPr bwMode="auto">
            <a:xfrm>
              <a:off x="7694886" y="2845200"/>
              <a:ext cx="97158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8" name="ïṡļîḋè"/>
            <p:cNvSpPr/>
            <p:nvPr userDrawn="1"/>
          </p:nvSpPr>
          <p:spPr bwMode="auto">
            <a:xfrm>
              <a:off x="7694886" y="2946709"/>
              <a:ext cx="1334122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9" name="íṡļïḋê"/>
            <p:cNvSpPr/>
            <p:nvPr userDrawn="1"/>
          </p:nvSpPr>
          <p:spPr bwMode="auto">
            <a:xfrm>
              <a:off x="7620566" y="2602302"/>
              <a:ext cx="112385" cy="72506"/>
            </a:xfrm>
            <a:custGeom>
              <a:avLst/>
              <a:gdLst>
                <a:gd name="T0" fmla="*/ 25 w 62"/>
                <a:gd name="T1" fmla="*/ 0 h 40"/>
                <a:gd name="T2" fmla="*/ 0 w 62"/>
                <a:gd name="T3" fmla="*/ 40 h 40"/>
                <a:gd name="T4" fmla="*/ 50 w 62"/>
                <a:gd name="T5" fmla="*/ 40 h 40"/>
                <a:gd name="T6" fmla="*/ 62 w 62"/>
                <a:gd name="T7" fmla="*/ 25 h 40"/>
                <a:gd name="T8" fmla="*/ 25 w 62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40">
                  <a:moveTo>
                    <a:pt x="25" y="0"/>
                  </a:moveTo>
                  <a:lnTo>
                    <a:pt x="0" y="40"/>
                  </a:lnTo>
                  <a:lnTo>
                    <a:pt x="50" y="40"/>
                  </a:lnTo>
                  <a:lnTo>
                    <a:pt x="62" y="25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D0D4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0" name="îṥḷiďe"/>
            <p:cNvSpPr/>
            <p:nvPr userDrawn="1"/>
          </p:nvSpPr>
          <p:spPr bwMode="auto">
            <a:xfrm>
              <a:off x="7620566" y="2602302"/>
              <a:ext cx="112385" cy="72506"/>
            </a:xfrm>
            <a:custGeom>
              <a:avLst/>
              <a:gdLst>
                <a:gd name="T0" fmla="*/ 25 w 62"/>
                <a:gd name="T1" fmla="*/ 0 h 40"/>
                <a:gd name="T2" fmla="*/ 0 w 62"/>
                <a:gd name="T3" fmla="*/ 40 h 40"/>
                <a:gd name="T4" fmla="*/ 50 w 62"/>
                <a:gd name="T5" fmla="*/ 40 h 40"/>
                <a:gd name="T6" fmla="*/ 62 w 62"/>
                <a:gd name="T7" fmla="*/ 25 h 40"/>
                <a:gd name="T8" fmla="*/ 25 w 62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40">
                  <a:moveTo>
                    <a:pt x="25" y="0"/>
                  </a:moveTo>
                  <a:lnTo>
                    <a:pt x="0" y="40"/>
                  </a:lnTo>
                  <a:lnTo>
                    <a:pt x="50" y="40"/>
                  </a:lnTo>
                  <a:lnTo>
                    <a:pt x="62" y="25"/>
                  </a:lnTo>
                  <a:lnTo>
                    <a:pt x="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1" name="iSḻîḓe"/>
            <p:cNvSpPr/>
            <p:nvPr userDrawn="1"/>
          </p:nvSpPr>
          <p:spPr bwMode="auto">
            <a:xfrm>
              <a:off x="7243532" y="2674810"/>
              <a:ext cx="467668" cy="358908"/>
            </a:xfrm>
            <a:custGeom>
              <a:avLst/>
              <a:gdLst>
                <a:gd name="T0" fmla="*/ 122 w 258"/>
                <a:gd name="T1" fmla="*/ 190 h 198"/>
                <a:gd name="T2" fmla="*/ 108 w 258"/>
                <a:gd name="T3" fmla="*/ 190 h 198"/>
                <a:gd name="T4" fmla="*/ 116 w 258"/>
                <a:gd name="T5" fmla="*/ 198 h 198"/>
                <a:gd name="T6" fmla="*/ 122 w 258"/>
                <a:gd name="T7" fmla="*/ 190 h 198"/>
                <a:gd name="T8" fmla="*/ 185 w 258"/>
                <a:gd name="T9" fmla="*/ 44 h 198"/>
                <a:gd name="T10" fmla="*/ 179 w 258"/>
                <a:gd name="T11" fmla="*/ 44 h 198"/>
                <a:gd name="T12" fmla="*/ 114 w 258"/>
                <a:gd name="T13" fmla="*/ 148 h 198"/>
                <a:gd name="T14" fmla="*/ 52 w 258"/>
                <a:gd name="T15" fmla="*/ 67 h 198"/>
                <a:gd name="T16" fmla="*/ 52 w 258"/>
                <a:gd name="T17" fmla="*/ 129 h 198"/>
                <a:gd name="T18" fmla="*/ 97 w 258"/>
                <a:gd name="T19" fmla="*/ 177 h 198"/>
                <a:gd name="T20" fmla="*/ 131 w 258"/>
                <a:gd name="T21" fmla="*/ 177 h 198"/>
                <a:gd name="T22" fmla="*/ 185 w 258"/>
                <a:gd name="T23" fmla="*/ 100 h 198"/>
                <a:gd name="T24" fmla="*/ 185 w 258"/>
                <a:gd name="T25" fmla="*/ 44 h 198"/>
                <a:gd name="T26" fmla="*/ 35 w 258"/>
                <a:gd name="T27" fmla="*/ 42 h 198"/>
                <a:gd name="T28" fmla="*/ 0 w 258"/>
                <a:gd name="T29" fmla="*/ 71 h 198"/>
                <a:gd name="T30" fmla="*/ 41 w 258"/>
                <a:gd name="T31" fmla="*/ 113 h 198"/>
                <a:gd name="T32" fmla="*/ 41 w 258"/>
                <a:gd name="T33" fmla="*/ 50 h 198"/>
                <a:gd name="T34" fmla="*/ 35 w 258"/>
                <a:gd name="T35" fmla="*/ 42 h 198"/>
                <a:gd name="T36" fmla="*/ 258 w 258"/>
                <a:gd name="T37" fmla="*/ 0 h 198"/>
                <a:gd name="T38" fmla="*/ 208 w 258"/>
                <a:gd name="T39" fmla="*/ 0 h 198"/>
                <a:gd name="T40" fmla="*/ 189 w 258"/>
                <a:gd name="T41" fmla="*/ 31 h 198"/>
                <a:gd name="T42" fmla="*/ 199 w 258"/>
                <a:gd name="T43" fmla="*/ 31 h 198"/>
                <a:gd name="T44" fmla="*/ 199 w 258"/>
                <a:gd name="T45" fmla="*/ 83 h 198"/>
                <a:gd name="T46" fmla="*/ 258 w 258"/>
                <a:gd name="T4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8" h="198">
                  <a:moveTo>
                    <a:pt x="122" y="190"/>
                  </a:moveTo>
                  <a:lnTo>
                    <a:pt x="108" y="190"/>
                  </a:lnTo>
                  <a:lnTo>
                    <a:pt x="116" y="198"/>
                  </a:lnTo>
                  <a:lnTo>
                    <a:pt x="122" y="190"/>
                  </a:lnTo>
                  <a:close/>
                  <a:moveTo>
                    <a:pt x="185" y="44"/>
                  </a:moveTo>
                  <a:lnTo>
                    <a:pt x="179" y="44"/>
                  </a:lnTo>
                  <a:lnTo>
                    <a:pt x="114" y="148"/>
                  </a:lnTo>
                  <a:lnTo>
                    <a:pt x="52" y="67"/>
                  </a:lnTo>
                  <a:lnTo>
                    <a:pt x="52" y="129"/>
                  </a:lnTo>
                  <a:lnTo>
                    <a:pt x="97" y="177"/>
                  </a:lnTo>
                  <a:lnTo>
                    <a:pt x="131" y="177"/>
                  </a:lnTo>
                  <a:lnTo>
                    <a:pt x="185" y="100"/>
                  </a:lnTo>
                  <a:lnTo>
                    <a:pt x="185" y="44"/>
                  </a:lnTo>
                  <a:close/>
                  <a:moveTo>
                    <a:pt x="35" y="42"/>
                  </a:moveTo>
                  <a:lnTo>
                    <a:pt x="0" y="71"/>
                  </a:lnTo>
                  <a:lnTo>
                    <a:pt x="41" y="113"/>
                  </a:lnTo>
                  <a:lnTo>
                    <a:pt x="41" y="50"/>
                  </a:lnTo>
                  <a:lnTo>
                    <a:pt x="35" y="42"/>
                  </a:lnTo>
                  <a:close/>
                  <a:moveTo>
                    <a:pt x="258" y="0"/>
                  </a:moveTo>
                  <a:lnTo>
                    <a:pt x="208" y="0"/>
                  </a:lnTo>
                  <a:lnTo>
                    <a:pt x="189" y="31"/>
                  </a:lnTo>
                  <a:lnTo>
                    <a:pt x="199" y="31"/>
                  </a:lnTo>
                  <a:lnTo>
                    <a:pt x="199" y="83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E1E2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2" name="ïṧḻïďé"/>
            <p:cNvSpPr/>
            <p:nvPr userDrawn="1"/>
          </p:nvSpPr>
          <p:spPr bwMode="auto">
            <a:xfrm>
              <a:off x="7243532" y="2674810"/>
              <a:ext cx="467668" cy="358908"/>
            </a:xfrm>
            <a:custGeom>
              <a:avLst/>
              <a:gdLst>
                <a:gd name="T0" fmla="*/ 122 w 258"/>
                <a:gd name="T1" fmla="*/ 190 h 198"/>
                <a:gd name="T2" fmla="*/ 108 w 258"/>
                <a:gd name="T3" fmla="*/ 190 h 198"/>
                <a:gd name="T4" fmla="*/ 116 w 258"/>
                <a:gd name="T5" fmla="*/ 198 h 198"/>
                <a:gd name="T6" fmla="*/ 122 w 258"/>
                <a:gd name="T7" fmla="*/ 190 h 198"/>
                <a:gd name="T8" fmla="*/ 185 w 258"/>
                <a:gd name="T9" fmla="*/ 44 h 198"/>
                <a:gd name="T10" fmla="*/ 179 w 258"/>
                <a:gd name="T11" fmla="*/ 44 h 198"/>
                <a:gd name="T12" fmla="*/ 114 w 258"/>
                <a:gd name="T13" fmla="*/ 148 h 198"/>
                <a:gd name="T14" fmla="*/ 52 w 258"/>
                <a:gd name="T15" fmla="*/ 67 h 198"/>
                <a:gd name="T16" fmla="*/ 52 w 258"/>
                <a:gd name="T17" fmla="*/ 129 h 198"/>
                <a:gd name="T18" fmla="*/ 97 w 258"/>
                <a:gd name="T19" fmla="*/ 177 h 198"/>
                <a:gd name="T20" fmla="*/ 131 w 258"/>
                <a:gd name="T21" fmla="*/ 177 h 198"/>
                <a:gd name="T22" fmla="*/ 185 w 258"/>
                <a:gd name="T23" fmla="*/ 100 h 198"/>
                <a:gd name="T24" fmla="*/ 185 w 258"/>
                <a:gd name="T25" fmla="*/ 44 h 198"/>
                <a:gd name="T26" fmla="*/ 35 w 258"/>
                <a:gd name="T27" fmla="*/ 42 h 198"/>
                <a:gd name="T28" fmla="*/ 0 w 258"/>
                <a:gd name="T29" fmla="*/ 71 h 198"/>
                <a:gd name="T30" fmla="*/ 41 w 258"/>
                <a:gd name="T31" fmla="*/ 113 h 198"/>
                <a:gd name="T32" fmla="*/ 41 w 258"/>
                <a:gd name="T33" fmla="*/ 50 h 198"/>
                <a:gd name="T34" fmla="*/ 35 w 258"/>
                <a:gd name="T35" fmla="*/ 42 h 198"/>
                <a:gd name="T36" fmla="*/ 258 w 258"/>
                <a:gd name="T37" fmla="*/ 0 h 198"/>
                <a:gd name="T38" fmla="*/ 208 w 258"/>
                <a:gd name="T39" fmla="*/ 0 h 198"/>
                <a:gd name="T40" fmla="*/ 189 w 258"/>
                <a:gd name="T41" fmla="*/ 31 h 198"/>
                <a:gd name="T42" fmla="*/ 199 w 258"/>
                <a:gd name="T43" fmla="*/ 31 h 198"/>
                <a:gd name="T44" fmla="*/ 199 w 258"/>
                <a:gd name="T45" fmla="*/ 83 h 198"/>
                <a:gd name="T46" fmla="*/ 258 w 258"/>
                <a:gd name="T4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8" h="198">
                  <a:moveTo>
                    <a:pt x="122" y="190"/>
                  </a:moveTo>
                  <a:lnTo>
                    <a:pt x="108" y="190"/>
                  </a:lnTo>
                  <a:lnTo>
                    <a:pt x="116" y="198"/>
                  </a:lnTo>
                  <a:lnTo>
                    <a:pt x="122" y="190"/>
                  </a:lnTo>
                  <a:moveTo>
                    <a:pt x="185" y="44"/>
                  </a:moveTo>
                  <a:lnTo>
                    <a:pt x="179" y="44"/>
                  </a:lnTo>
                  <a:lnTo>
                    <a:pt x="114" y="148"/>
                  </a:lnTo>
                  <a:lnTo>
                    <a:pt x="52" y="67"/>
                  </a:lnTo>
                  <a:lnTo>
                    <a:pt x="52" y="129"/>
                  </a:lnTo>
                  <a:lnTo>
                    <a:pt x="97" y="177"/>
                  </a:lnTo>
                  <a:lnTo>
                    <a:pt x="131" y="177"/>
                  </a:lnTo>
                  <a:lnTo>
                    <a:pt x="185" y="100"/>
                  </a:lnTo>
                  <a:lnTo>
                    <a:pt x="185" y="44"/>
                  </a:lnTo>
                  <a:moveTo>
                    <a:pt x="35" y="42"/>
                  </a:moveTo>
                  <a:lnTo>
                    <a:pt x="0" y="71"/>
                  </a:lnTo>
                  <a:lnTo>
                    <a:pt x="41" y="113"/>
                  </a:lnTo>
                  <a:lnTo>
                    <a:pt x="41" y="50"/>
                  </a:lnTo>
                  <a:lnTo>
                    <a:pt x="35" y="42"/>
                  </a:lnTo>
                  <a:moveTo>
                    <a:pt x="258" y="0"/>
                  </a:moveTo>
                  <a:lnTo>
                    <a:pt x="208" y="0"/>
                  </a:lnTo>
                  <a:lnTo>
                    <a:pt x="189" y="31"/>
                  </a:lnTo>
                  <a:lnTo>
                    <a:pt x="199" y="31"/>
                  </a:lnTo>
                  <a:lnTo>
                    <a:pt x="199" y="83"/>
                  </a:lnTo>
                  <a:lnTo>
                    <a:pt x="25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3" name="îš1íḍè"/>
            <p:cNvSpPr/>
            <p:nvPr userDrawn="1"/>
          </p:nvSpPr>
          <p:spPr bwMode="auto">
            <a:xfrm>
              <a:off x="7317852" y="2731002"/>
              <a:ext cx="286402" cy="288214"/>
            </a:xfrm>
            <a:custGeom>
              <a:avLst/>
              <a:gdLst>
                <a:gd name="T0" fmla="*/ 90 w 158"/>
                <a:gd name="T1" fmla="*/ 146 h 159"/>
                <a:gd name="T2" fmla="*/ 56 w 158"/>
                <a:gd name="T3" fmla="*/ 146 h 159"/>
                <a:gd name="T4" fmla="*/ 67 w 158"/>
                <a:gd name="T5" fmla="*/ 159 h 159"/>
                <a:gd name="T6" fmla="*/ 81 w 158"/>
                <a:gd name="T7" fmla="*/ 159 h 159"/>
                <a:gd name="T8" fmla="*/ 90 w 158"/>
                <a:gd name="T9" fmla="*/ 146 h 159"/>
                <a:gd name="T10" fmla="*/ 0 w 158"/>
                <a:gd name="T11" fmla="*/ 19 h 159"/>
                <a:gd name="T12" fmla="*/ 0 w 158"/>
                <a:gd name="T13" fmla="*/ 82 h 159"/>
                <a:gd name="T14" fmla="*/ 11 w 158"/>
                <a:gd name="T15" fmla="*/ 98 h 159"/>
                <a:gd name="T16" fmla="*/ 11 w 158"/>
                <a:gd name="T17" fmla="*/ 36 h 159"/>
                <a:gd name="T18" fmla="*/ 0 w 158"/>
                <a:gd name="T19" fmla="*/ 19 h 159"/>
                <a:gd name="T20" fmla="*/ 158 w 158"/>
                <a:gd name="T21" fmla="*/ 0 h 159"/>
                <a:gd name="T22" fmla="*/ 148 w 158"/>
                <a:gd name="T23" fmla="*/ 0 h 159"/>
                <a:gd name="T24" fmla="*/ 138 w 158"/>
                <a:gd name="T25" fmla="*/ 13 h 159"/>
                <a:gd name="T26" fmla="*/ 144 w 158"/>
                <a:gd name="T27" fmla="*/ 13 h 159"/>
                <a:gd name="T28" fmla="*/ 144 w 158"/>
                <a:gd name="T29" fmla="*/ 69 h 159"/>
                <a:gd name="T30" fmla="*/ 158 w 158"/>
                <a:gd name="T31" fmla="*/ 52 h 159"/>
                <a:gd name="T32" fmla="*/ 158 w 158"/>
                <a:gd name="T33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9">
                  <a:moveTo>
                    <a:pt x="90" y="146"/>
                  </a:moveTo>
                  <a:lnTo>
                    <a:pt x="56" y="146"/>
                  </a:lnTo>
                  <a:lnTo>
                    <a:pt x="67" y="159"/>
                  </a:lnTo>
                  <a:lnTo>
                    <a:pt x="81" y="159"/>
                  </a:lnTo>
                  <a:lnTo>
                    <a:pt x="90" y="146"/>
                  </a:lnTo>
                  <a:close/>
                  <a:moveTo>
                    <a:pt x="0" y="19"/>
                  </a:moveTo>
                  <a:lnTo>
                    <a:pt x="0" y="82"/>
                  </a:lnTo>
                  <a:lnTo>
                    <a:pt x="11" y="98"/>
                  </a:lnTo>
                  <a:lnTo>
                    <a:pt x="11" y="36"/>
                  </a:lnTo>
                  <a:lnTo>
                    <a:pt x="0" y="19"/>
                  </a:lnTo>
                  <a:close/>
                  <a:moveTo>
                    <a:pt x="158" y="0"/>
                  </a:moveTo>
                  <a:lnTo>
                    <a:pt x="148" y="0"/>
                  </a:lnTo>
                  <a:lnTo>
                    <a:pt x="138" y="13"/>
                  </a:lnTo>
                  <a:lnTo>
                    <a:pt x="144" y="13"/>
                  </a:lnTo>
                  <a:lnTo>
                    <a:pt x="144" y="69"/>
                  </a:lnTo>
                  <a:lnTo>
                    <a:pt x="158" y="52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BFC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4" name="ïS1ïḋê"/>
            <p:cNvSpPr/>
            <p:nvPr userDrawn="1"/>
          </p:nvSpPr>
          <p:spPr bwMode="auto">
            <a:xfrm>
              <a:off x="7317852" y="2731002"/>
              <a:ext cx="286402" cy="288214"/>
            </a:xfrm>
            <a:custGeom>
              <a:avLst/>
              <a:gdLst>
                <a:gd name="T0" fmla="*/ 90 w 158"/>
                <a:gd name="T1" fmla="*/ 146 h 159"/>
                <a:gd name="T2" fmla="*/ 56 w 158"/>
                <a:gd name="T3" fmla="*/ 146 h 159"/>
                <a:gd name="T4" fmla="*/ 67 w 158"/>
                <a:gd name="T5" fmla="*/ 159 h 159"/>
                <a:gd name="T6" fmla="*/ 81 w 158"/>
                <a:gd name="T7" fmla="*/ 159 h 159"/>
                <a:gd name="T8" fmla="*/ 90 w 158"/>
                <a:gd name="T9" fmla="*/ 146 h 159"/>
                <a:gd name="T10" fmla="*/ 0 w 158"/>
                <a:gd name="T11" fmla="*/ 19 h 159"/>
                <a:gd name="T12" fmla="*/ 0 w 158"/>
                <a:gd name="T13" fmla="*/ 82 h 159"/>
                <a:gd name="T14" fmla="*/ 11 w 158"/>
                <a:gd name="T15" fmla="*/ 98 h 159"/>
                <a:gd name="T16" fmla="*/ 11 w 158"/>
                <a:gd name="T17" fmla="*/ 36 h 159"/>
                <a:gd name="T18" fmla="*/ 0 w 158"/>
                <a:gd name="T19" fmla="*/ 19 h 159"/>
                <a:gd name="T20" fmla="*/ 158 w 158"/>
                <a:gd name="T21" fmla="*/ 0 h 159"/>
                <a:gd name="T22" fmla="*/ 148 w 158"/>
                <a:gd name="T23" fmla="*/ 0 h 159"/>
                <a:gd name="T24" fmla="*/ 138 w 158"/>
                <a:gd name="T25" fmla="*/ 13 h 159"/>
                <a:gd name="T26" fmla="*/ 144 w 158"/>
                <a:gd name="T27" fmla="*/ 13 h 159"/>
                <a:gd name="T28" fmla="*/ 144 w 158"/>
                <a:gd name="T29" fmla="*/ 69 h 159"/>
                <a:gd name="T30" fmla="*/ 158 w 158"/>
                <a:gd name="T31" fmla="*/ 52 h 159"/>
                <a:gd name="T32" fmla="*/ 158 w 158"/>
                <a:gd name="T33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9">
                  <a:moveTo>
                    <a:pt x="90" y="146"/>
                  </a:moveTo>
                  <a:lnTo>
                    <a:pt x="56" y="146"/>
                  </a:lnTo>
                  <a:lnTo>
                    <a:pt x="67" y="159"/>
                  </a:lnTo>
                  <a:lnTo>
                    <a:pt x="81" y="159"/>
                  </a:lnTo>
                  <a:lnTo>
                    <a:pt x="90" y="146"/>
                  </a:lnTo>
                  <a:moveTo>
                    <a:pt x="0" y="19"/>
                  </a:moveTo>
                  <a:lnTo>
                    <a:pt x="0" y="82"/>
                  </a:lnTo>
                  <a:lnTo>
                    <a:pt x="11" y="98"/>
                  </a:lnTo>
                  <a:lnTo>
                    <a:pt x="11" y="36"/>
                  </a:lnTo>
                  <a:lnTo>
                    <a:pt x="0" y="19"/>
                  </a:lnTo>
                  <a:moveTo>
                    <a:pt x="158" y="0"/>
                  </a:moveTo>
                  <a:lnTo>
                    <a:pt x="148" y="0"/>
                  </a:lnTo>
                  <a:lnTo>
                    <a:pt x="138" y="13"/>
                  </a:lnTo>
                  <a:lnTo>
                    <a:pt x="144" y="13"/>
                  </a:lnTo>
                  <a:lnTo>
                    <a:pt x="144" y="69"/>
                  </a:lnTo>
                  <a:lnTo>
                    <a:pt x="158" y="52"/>
                  </a:lnTo>
                  <a:lnTo>
                    <a:pt x="15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5" name="îṣḻiḍè"/>
            <p:cNvSpPr/>
            <p:nvPr userDrawn="1"/>
          </p:nvSpPr>
          <p:spPr bwMode="auto">
            <a:xfrm>
              <a:off x="7243532" y="2584176"/>
              <a:ext cx="489420" cy="427789"/>
            </a:xfrm>
            <a:custGeom>
              <a:avLst/>
              <a:gdLst>
                <a:gd name="T0" fmla="*/ 0 w 270"/>
                <a:gd name="T1" fmla="*/ 112 h 236"/>
                <a:gd name="T2" fmla="*/ 116 w 270"/>
                <a:gd name="T3" fmla="*/ 236 h 236"/>
                <a:gd name="T4" fmla="*/ 270 w 270"/>
                <a:gd name="T5" fmla="*/ 25 h 236"/>
                <a:gd name="T6" fmla="*/ 233 w 270"/>
                <a:gd name="T7" fmla="*/ 0 h 236"/>
                <a:gd name="T8" fmla="*/ 114 w 270"/>
                <a:gd name="T9" fmla="*/ 188 h 236"/>
                <a:gd name="T10" fmla="*/ 35 w 270"/>
                <a:gd name="T11" fmla="*/ 83 h 236"/>
                <a:gd name="T12" fmla="*/ 0 w 270"/>
                <a:gd name="T13" fmla="*/ 112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236">
                  <a:moveTo>
                    <a:pt x="0" y="112"/>
                  </a:moveTo>
                  <a:lnTo>
                    <a:pt x="116" y="236"/>
                  </a:lnTo>
                  <a:lnTo>
                    <a:pt x="270" y="25"/>
                  </a:lnTo>
                  <a:lnTo>
                    <a:pt x="233" y="0"/>
                  </a:lnTo>
                  <a:lnTo>
                    <a:pt x="114" y="188"/>
                  </a:lnTo>
                  <a:lnTo>
                    <a:pt x="35" y="83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rgbClr val="FC6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7" name="iŝḷîḋê"/>
            <p:cNvSpPr/>
            <p:nvPr userDrawn="1"/>
          </p:nvSpPr>
          <p:spPr bwMode="auto">
            <a:xfrm>
              <a:off x="6958943" y="4547294"/>
              <a:ext cx="181267" cy="161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0" name="ïṣlïḋe"/>
            <p:cNvSpPr/>
            <p:nvPr userDrawn="1"/>
          </p:nvSpPr>
          <p:spPr bwMode="auto">
            <a:xfrm>
              <a:off x="7317852" y="4547294"/>
              <a:ext cx="110572" cy="108760"/>
            </a:xfrm>
            <a:custGeom>
              <a:avLst/>
              <a:gdLst>
                <a:gd name="T0" fmla="*/ 11 w 61"/>
                <a:gd name="T1" fmla="*/ 0 h 60"/>
                <a:gd name="T2" fmla="*/ 0 w 61"/>
                <a:gd name="T3" fmla="*/ 0 h 60"/>
                <a:gd name="T4" fmla="*/ 0 w 61"/>
                <a:gd name="T5" fmla="*/ 60 h 60"/>
                <a:gd name="T6" fmla="*/ 61 w 61"/>
                <a:gd name="T7" fmla="*/ 60 h 60"/>
                <a:gd name="T8" fmla="*/ 61 w 61"/>
                <a:gd name="T9" fmla="*/ 47 h 60"/>
                <a:gd name="T10" fmla="*/ 11 w 61"/>
                <a:gd name="T11" fmla="*/ 47 h 60"/>
                <a:gd name="T12" fmla="*/ 11 w 61"/>
                <a:gd name="T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60">
                  <a:moveTo>
                    <a:pt x="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61" y="60"/>
                  </a:lnTo>
                  <a:lnTo>
                    <a:pt x="61" y="47"/>
                  </a:lnTo>
                  <a:lnTo>
                    <a:pt x="11" y="47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CBE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1" name="ïṧ1ïḓê"/>
            <p:cNvSpPr/>
            <p:nvPr userDrawn="1"/>
          </p:nvSpPr>
          <p:spPr bwMode="auto">
            <a:xfrm>
              <a:off x="7317852" y="4547294"/>
              <a:ext cx="110572" cy="108760"/>
            </a:xfrm>
            <a:custGeom>
              <a:avLst/>
              <a:gdLst>
                <a:gd name="T0" fmla="*/ 11 w 61"/>
                <a:gd name="T1" fmla="*/ 0 h 60"/>
                <a:gd name="T2" fmla="*/ 0 w 61"/>
                <a:gd name="T3" fmla="*/ 0 h 60"/>
                <a:gd name="T4" fmla="*/ 0 w 61"/>
                <a:gd name="T5" fmla="*/ 60 h 60"/>
                <a:gd name="T6" fmla="*/ 61 w 61"/>
                <a:gd name="T7" fmla="*/ 60 h 60"/>
                <a:gd name="T8" fmla="*/ 61 w 61"/>
                <a:gd name="T9" fmla="*/ 47 h 60"/>
                <a:gd name="T10" fmla="*/ 11 w 61"/>
                <a:gd name="T11" fmla="*/ 47 h 60"/>
                <a:gd name="T12" fmla="*/ 11 w 61"/>
                <a:gd name="T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60">
                  <a:moveTo>
                    <a:pt x="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61" y="60"/>
                  </a:lnTo>
                  <a:lnTo>
                    <a:pt x="61" y="47"/>
                  </a:lnTo>
                  <a:lnTo>
                    <a:pt x="11" y="47"/>
                  </a:lnTo>
                  <a:lnTo>
                    <a:pt x="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grpSp>
        <p:nvGrpSpPr>
          <p:cNvPr id="4" name="组合 3"/>
          <p:cNvGrpSpPr/>
          <p:nvPr userDrawn="1"/>
        </p:nvGrpSpPr>
        <p:grpSpPr>
          <a:xfrm>
            <a:off x="9096076" y="2364844"/>
            <a:ext cx="2439849" cy="3674275"/>
            <a:chOff x="9096076" y="2364844"/>
            <a:chExt cx="2439849" cy="3674275"/>
          </a:xfrm>
        </p:grpSpPr>
        <p:sp>
          <p:nvSpPr>
            <p:cNvPr id="166" name="î$ļîďè"/>
            <p:cNvSpPr/>
            <p:nvPr userDrawn="1"/>
          </p:nvSpPr>
          <p:spPr bwMode="auto">
            <a:xfrm>
              <a:off x="10134735" y="2928583"/>
              <a:ext cx="170390" cy="213894"/>
            </a:xfrm>
            <a:custGeom>
              <a:avLst/>
              <a:gdLst>
                <a:gd name="T0" fmla="*/ 94 w 94"/>
                <a:gd name="T1" fmla="*/ 114 h 118"/>
                <a:gd name="T2" fmla="*/ 90 w 94"/>
                <a:gd name="T3" fmla="*/ 0 h 118"/>
                <a:gd name="T4" fmla="*/ 0 w 94"/>
                <a:gd name="T5" fmla="*/ 4 h 118"/>
                <a:gd name="T6" fmla="*/ 4 w 94"/>
                <a:gd name="T7" fmla="*/ 118 h 118"/>
                <a:gd name="T8" fmla="*/ 94 w 94"/>
                <a:gd name="T9" fmla="*/ 11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118">
                  <a:moveTo>
                    <a:pt x="94" y="114"/>
                  </a:moveTo>
                  <a:lnTo>
                    <a:pt x="90" y="0"/>
                  </a:lnTo>
                  <a:lnTo>
                    <a:pt x="0" y="4"/>
                  </a:lnTo>
                  <a:lnTo>
                    <a:pt x="4" y="118"/>
                  </a:lnTo>
                  <a:lnTo>
                    <a:pt x="94" y="114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67" name="ïśḻîḍe"/>
            <p:cNvSpPr/>
            <p:nvPr userDrawn="1"/>
          </p:nvSpPr>
          <p:spPr bwMode="auto">
            <a:xfrm>
              <a:off x="10134735" y="2928583"/>
              <a:ext cx="170390" cy="213894"/>
            </a:xfrm>
            <a:custGeom>
              <a:avLst/>
              <a:gdLst>
                <a:gd name="T0" fmla="*/ 94 w 94"/>
                <a:gd name="T1" fmla="*/ 114 h 118"/>
                <a:gd name="T2" fmla="*/ 90 w 94"/>
                <a:gd name="T3" fmla="*/ 0 h 118"/>
                <a:gd name="T4" fmla="*/ 0 w 94"/>
                <a:gd name="T5" fmla="*/ 4 h 118"/>
                <a:gd name="T6" fmla="*/ 4 w 94"/>
                <a:gd name="T7" fmla="*/ 118 h 118"/>
                <a:gd name="T8" fmla="*/ 94 w 94"/>
                <a:gd name="T9" fmla="*/ 11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118">
                  <a:moveTo>
                    <a:pt x="94" y="114"/>
                  </a:moveTo>
                  <a:lnTo>
                    <a:pt x="90" y="0"/>
                  </a:lnTo>
                  <a:lnTo>
                    <a:pt x="0" y="4"/>
                  </a:lnTo>
                  <a:lnTo>
                    <a:pt x="4" y="118"/>
                  </a:lnTo>
                  <a:lnTo>
                    <a:pt x="94" y="11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8" name="îS1iďè"/>
            <p:cNvSpPr/>
            <p:nvPr userDrawn="1"/>
          </p:nvSpPr>
          <p:spPr bwMode="auto">
            <a:xfrm>
              <a:off x="10301500" y="2957585"/>
              <a:ext cx="0" cy="76131"/>
            </a:xfrm>
            <a:custGeom>
              <a:avLst/>
              <a:gdLst>
                <a:gd name="T0" fmla="*/ 0 h 22"/>
                <a:gd name="T1" fmla="*/ 22 h 22"/>
                <a:gd name="T2" fmla="*/ 22 h 22"/>
                <a:gd name="T3" fmla="*/ 0 h 2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2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5D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9" name="ïṩlídé"/>
            <p:cNvSpPr/>
            <p:nvPr userDrawn="1"/>
          </p:nvSpPr>
          <p:spPr bwMode="auto">
            <a:xfrm>
              <a:off x="10134735" y="2943084"/>
              <a:ext cx="166765" cy="94259"/>
            </a:xfrm>
            <a:custGeom>
              <a:avLst/>
              <a:gdLst>
                <a:gd name="T0" fmla="*/ 0 w 48"/>
                <a:gd name="T1" fmla="*/ 0 h 27"/>
                <a:gd name="T2" fmla="*/ 1 w 48"/>
                <a:gd name="T3" fmla="*/ 23 h 27"/>
                <a:gd name="T4" fmla="*/ 27 w 48"/>
                <a:gd name="T5" fmla="*/ 27 h 27"/>
                <a:gd name="T6" fmla="*/ 48 w 48"/>
                <a:gd name="T7" fmla="*/ 26 h 27"/>
                <a:gd name="T8" fmla="*/ 48 w 48"/>
                <a:gd name="T9" fmla="*/ 4 h 27"/>
                <a:gd name="T10" fmla="*/ 0 w 48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7">
                  <a:moveTo>
                    <a:pt x="0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3" y="26"/>
                    <a:pt x="16" y="27"/>
                    <a:pt x="27" y="27"/>
                  </a:cubicBezTo>
                  <a:cubicBezTo>
                    <a:pt x="38" y="27"/>
                    <a:pt x="48" y="26"/>
                    <a:pt x="48" y="26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0" name="ïṣľíḋè"/>
            <p:cNvSpPr/>
            <p:nvPr userDrawn="1"/>
          </p:nvSpPr>
          <p:spPr bwMode="auto">
            <a:xfrm>
              <a:off x="9998784" y="2486292"/>
              <a:ext cx="464042" cy="445916"/>
            </a:xfrm>
            <a:custGeom>
              <a:avLst/>
              <a:gdLst>
                <a:gd name="T0" fmla="*/ 126 w 133"/>
                <a:gd name="T1" fmla="*/ 79 h 128"/>
                <a:gd name="T2" fmla="*/ 122 w 133"/>
                <a:gd name="T3" fmla="*/ 96 h 128"/>
                <a:gd name="T4" fmla="*/ 111 w 133"/>
                <a:gd name="T5" fmla="*/ 115 h 128"/>
                <a:gd name="T6" fmla="*/ 106 w 133"/>
                <a:gd name="T7" fmla="*/ 122 h 128"/>
                <a:gd name="T8" fmla="*/ 96 w 133"/>
                <a:gd name="T9" fmla="*/ 125 h 128"/>
                <a:gd name="T10" fmla="*/ 53 w 133"/>
                <a:gd name="T11" fmla="*/ 127 h 128"/>
                <a:gd name="T12" fmla="*/ 37 w 133"/>
                <a:gd name="T13" fmla="*/ 124 h 128"/>
                <a:gd name="T14" fmla="*/ 20 w 133"/>
                <a:gd name="T15" fmla="*/ 115 h 128"/>
                <a:gd name="T16" fmla="*/ 11 w 133"/>
                <a:gd name="T17" fmla="*/ 108 h 128"/>
                <a:gd name="T18" fmla="*/ 2 w 133"/>
                <a:gd name="T19" fmla="*/ 91 h 128"/>
                <a:gd name="T20" fmla="*/ 0 w 133"/>
                <a:gd name="T21" fmla="*/ 70 h 128"/>
                <a:gd name="T22" fmla="*/ 1 w 133"/>
                <a:gd name="T23" fmla="*/ 47 h 128"/>
                <a:gd name="T24" fmla="*/ 13 w 133"/>
                <a:gd name="T25" fmla="*/ 17 h 128"/>
                <a:gd name="T26" fmla="*/ 34 w 133"/>
                <a:gd name="T27" fmla="*/ 3 h 128"/>
                <a:gd name="T28" fmla="*/ 49 w 133"/>
                <a:gd name="T29" fmla="*/ 1 h 128"/>
                <a:gd name="T30" fmla="*/ 68 w 133"/>
                <a:gd name="T31" fmla="*/ 0 h 128"/>
                <a:gd name="T32" fmla="*/ 87 w 133"/>
                <a:gd name="T33" fmla="*/ 5 h 128"/>
                <a:gd name="T34" fmla="*/ 114 w 133"/>
                <a:gd name="T35" fmla="*/ 17 h 128"/>
                <a:gd name="T36" fmla="*/ 133 w 133"/>
                <a:gd name="T37" fmla="*/ 40 h 128"/>
                <a:gd name="T38" fmla="*/ 130 w 133"/>
                <a:gd name="T39" fmla="*/ 59 h 128"/>
                <a:gd name="T40" fmla="*/ 126 w 133"/>
                <a:gd name="T41" fmla="*/ 7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3" h="128">
                  <a:moveTo>
                    <a:pt x="126" y="79"/>
                  </a:moveTo>
                  <a:cubicBezTo>
                    <a:pt x="125" y="85"/>
                    <a:pt x="124" y="91"/>
                    <a:pt x="122" y="96"/>
                  </a:cubicBezTo>
                  <a:cubicBezTo>
                    <a:pt x="120" y="103"/>
                    <a:pt x="116" y="109"/>
                    <a:pt x="111" y="115"/>
                  </a:cubicBezTo>
                  <a:cubicBezTo>
                    <a:pt x="110" y="118"/>
                    <a:pt x="108" y="120"/>
                    <a:pt x="106" y="122"/>
                  </a:cubicBezTo>
                  <a:cubicBezTo>
                    <a:pt x="103" y="124"/>
                    <a:pt x="100" y="124"/>
                    <a:pt x="96" y="125"/>
                  </a:cubicBezTo>
                  <a:cubicBezTo>
                    <a:pt x="82" y="128"/>
                    <a:pt x="67" y="128"/>
                    <a:pt x="53" y="127"/>
                  </a:cubicBezTo>
                  <a:cubicBezTo>
                    <a:pt x="47" y="127"/>
                    <a:pt x="42" y="126"/>
                    <a:pt x="37" y="124"/>
                  </a:cubicBezTo>
                  <a:cubicBezTo>
                    <a:pt x="31" y="122"/>
                    <a:pt x="25" y="119"/>
                    <a:pt x="20" y="115"/>
                  </a:cubicBezTo>
                  <a:cubicBezTo>
                    <a:pt x="17" y="113"/>
                    <a:pt x="13" y="111"/>
                    <a:pt x="11" y="108"/>
                  </a:cubicBezTo>
                  <a:cubicBezTo>
                    <a:pt x="6" y="104"/>
                    <a:pt x="3" y="97"/>
                    <a:pt x="2" y="91"/>
                  </a:cubicBezTo>
                  <a:cubicBezTo>
                    <a:pt x="1" y="84"/>
                    <a:pt x="1" y="77"/>
                    <a:pt x="0" y="70"/>
                  </a:cubicBezTo>
                  <a:cubicBezTo>
                    <a:pt x="0" y="63"/>
                    <a:pt x="0" y="55"/>
                    <a:pt x="1" y="47"/>
                  </a:cubicBezTo>
                  <a:cubicBezTo>
                    <a:pt x="2" y="36"/>
                    <a:pt x="6" y="26"/>
                    <a:pt x="13" y="17"/>
                  </a:cubicBezTo>
                  <a:cubicBezTo>
                    <a:pt x="19" y="11"/>
                    <a:pt x="26" y="5"/>
                    <a:pt x="34" y="3"/>
                  </a:cubicBezTo>
                  <a:cubicBezTo>
                    <a:pt x="39" y="1"/>
                    <a:pt x="44" y="1"/>
                    <a:pt x="49" y="1"/>
                  </a:cubicBezTo>
                  <a:cubicBezTo>
                    <a:pt x="55" y="0"/>
                    <a:pt x="61" y="0"/>
                    <a:pt x="68" y="0"/>
                  </a:cubicBezTo>
                  <a:cubicBezTo>
                    <a:pt x="74" y="1"/>
                    <a:pt x="81" y="3"/>
                    <a:pt x="87" y="5"/>
                  </a:cubicBezTo>
                  <a:cubicBezTo>
                    <a:pt x="96" y="8"/>
                    <a:pt x="106" y="11"/>
                    <a:pt x="114" y="17"/>
                  </a:cubicBezTo>
                  <a:cubicBezTo>
                    <a:pt x="121" y="21"/>
                    <a:pt x="132" y="31"/>
                    <a:pt x="133" y="40"/>
                  </a:cubicBezTo>
                  <a:cubicBezTo>
                    <a:pt x="133" y="46"/>
                    <a:pt x="131" y="53"/>
                    <a:pt x="130" y="59"/>
                  </a:cubicBezTo>
                  <a:cubicBezTo>
                    <a:pt x="128" y="66"/>
                    <a:pt x="127" y="72"/>
                    <a:pt x="126" y="7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1" name="íṥļïḓè"/>
            <p:cNvSpPr/>
            <p:nvPr userDrawn="1"/>
          </p:nvSpPr>
          <p:spPr bwMode="auto">
            <a:xfrm>
              <a:off x="10192740" y="2399284"/>
              <a:ext cx="317216" cy="317217"/>
            </a:xfrm>
            <a:custGeom>
              <a:avLst/>
              <a:gdLst>
                <a:gd name="T0" fmla="*/ 1 w 91"/>
                <a:gd name="T1" fmla="*/ 45 h 91"/>
                <a:gd name="T2" fmla="*/ 44 w 91"/>
                <a:gd name="T3" fmla="*/ 91 h 91"/>
                <a:gd name="T4" fmla="*/ 90 w 91"/>
                <a:gd name="T5" fmla="*/ 47 h 91"/>
                <a:gd name="T6" fmla="*/ 47 w 91"/>
                <a:gd name="T7" fmla="*/ 1 h 91"/>
                <a:gd name="T8" fmla="*/ 1 w 91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1">
                  <a:moveTo>
                    <a:pt x="1" y="45"/>
                  </a:moveTo>
                  <a:cubicBezTo>
                    <a:pt x="0" y="69"/>
                    <a:pt x="20" y="90"/>
                    <a:pt x="44" y="91"/>
                  </a:cubicBezTo>
                  <a:cubicBezTo>
                    <a:pt x="69" y="91"/>
                    <a:pt x="90" y="72"/>
                    <a:pt x="90" y="47"/>
                  </a:cubicBezTo>
                  <a:cubicBezTo>
                    <a:pt x="91" y="22"/>
                    <a:pt x="71" y="2"/>
                    <a:pt x="47" y="1"/>
                  </a:cubicBezTo>
                  <a:cubicBezTo>
                    <a:pt x="22" y="0"/>
                    <a:pt x="1" y="20"/>
                    <a:pt x="1" y="4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2" name="iṡ1ïḍe"/>
            <p:cNvSpPr/>
            <p:nvPr userDrawn="1"/>
          </p:nvSpPr>
          <p:spPr bwMode="auto">
            <a:xfrm>
              <a:off x="10054977" y="2364844"/>
              <a:ext cx="317216" cy="317217"/>
            </a:xfrm>
            <a:custGeom>
              <a:avLst/>
              <a:gdLst>
                <a:gd name="T0" fmla="*/ 1 w 91"/>
                <a:gd name="T1" fmla="*/ 44 h 91"/>
                <a:gd name="T2" fmla="*/ 45 w 91"/>
                <a:gd name="T3" fmla="*/ 90 h 91"/>
                <a:gd name="T4" fmla="*/ 91 w 91"/>
                <a:gd name="T5" fmla="*/ 47 h 91"/>
                <a:gd name="T6" fmla="*/ 47 w 91"/>
                <a:gd name="T7" fmla="*/ 1 h 91"/>
                <a:gd name="T8" fmla="*/ 1 w 91"/>
                <a:gd name="T9" fmla="*/ 4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1">
                  <a:moveTo>
                    <a:pt x="1" y="44"/>
                  </a:moveTo>
                  <a:cubicBezTo>
                    <a:pt x="0" y="69"/>
                    <a:pt x="20" y="90"/>
                    <a:pt x="45" y="90"/>
                  </a:cubicBezTo>
                  <a:cubicBezTo>
                    <a:pt x="70" y="91"/>
                    <a:pt x="90" y="72"/>
                    <a:pt x="91" y="47"/>
                  </a:cubicBezTo>
                  <a:cubicBezTo>
                    <a:pt x="91" y="22"/>
                    <a:pt x="72" y="1"/>
                    <a:pt x="47" y="1"/>
                  </a:cubicBezTo>
                  <a:cubicBezTo>
                    <a:pt x="22" y="0"/>
                    <a:pt x="2" y="20"/>
                    <a:pt x="1" y="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3" name="ï$liḑè"/>
            <p:cNvSpPr/>
            <p:nvPr userDrawn="1"/>
          </p:nvSpPr>
          <p:spPr bwMode="auto">
            <a:xfrm>
              <a:off x="9949842" y="2393847"/>
              <a:ext cx="317216" cy="319029"/>
            </a:xfrm>
            <a:custGeom>
              <a:avLst/>
              <a:gdLst>
                <a:gd name="T0" fmla="*/ 1 w 91"/>
                <a:gd name="T1" fmla="*/ 45 h 92"/>
                <a:gd name="T2" fmla="*/ 44 w 91"/>
                <a:gd name="T3" fmla="*/ 91 h 92"/>
                <a:gd name="T4" fmla="*/ 91 w 91"/>
                <a:gd name="T5" fmla="*/ 47 h 92"/>
                <a:gd name="T6" fmla="*/ 47 w 91"/>
                <a:gd name="T7" fmla="*/ 1 h 92"/>
                <a:gd name="T8" fmla="*/ 1 w 91"/>
                <a:gd name="T9" fmla="*/ 4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2">
                  <a:moveTo>
                    <a:pt x="1" y="45"/>
                  </a:moveTo>
                  <a:cubicBezTo>
                    <a:pt x="0" y="70"/>
                    <a:pt x="20" y="90"/>
                    <a:pt x="44" y="91"/>
                  </a:cubicBezTo>
                  <a:cubicBezTo>
                    <a:pt x="69" y="92"/>
                    <a:pt x="90" y="72"/>
                    <a:pt x="91" y="47"/>
                  </a:cubicBezTo>
                  <a:cubicBezTo>
                    <a:pt x="91" y="22"/>
                    <a:pt x="72" y="2"/>
                    <a:pt x="47" y="1"/>
                  </a:cubicBezTo>
                  <a:cubicBezTo>
                    <a:pt x="22" y="0"/>
                    <a:pt x="1" y="20"/>
                    <a:pt x="1" y="4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4" name="îṥľiḓè"/>
            <p:cNvSpPr/>
            <p:nvPr userDrawn="1"/>
          </p:nvSpPr>
          <p:spPr bwMode="auto">
            <a:xfrm>
              <a:off x="10025975" y="2518921"/>
              <a:ext cx="391536" cy="500296"/>
            </a:xfrm>
            <a:custGeom>
              <a:avLst/>
              <a:gdLst>
                <a:gd name="T0" fmla="*/ 3 w 112"/>
                <a:gd name="T1" fmla="*/ 0 h 144"/>
                <a:gd name="T2" fmla="*/ 1 w 112"/>
                <a:gd name="T3" fmla="*/ 87 h 144"/>
                <a:gd name="T4" fmla="*/ 54 w 112"/>
                <a:gd name="T5" fmla="*/ 143 h 144"/>
                <a:gd name="T6" fmla="*/ 110 w 112"/>
                <a:gd name="T7" fmla="*/ 90 h 144"/>
                <a:gd name="T8" fmla="*/ 112 w 112"/>
                <a:gd name="T9" fmla="*/ 3 h 144"/>
                <a:gd name="T10" fmla="*/ 3 w 112"/>
                <a:gd name="T11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44">
                  <a:moveTo>
                    <a:pt x="3" y="0"/>
                  </a:moveTo>
                  <a:cubicBezTo>
                    <a:pt x="1" y="87"/>
                    <a:pt x="1" y="87"/>
                    <a:pt x="1" y="87"/>
                  </a:cubicBezTo>
                  <a:cubicBezTo>
                    <a:pt x="0" y="117"/>
                    <a:pt x="24" y="142"/>
                    <a:pt x="54" y="143"/>
                  </a:cubicBezTo>
                  <a:cubicBezTo>
                    <a:pt x="84" y="144"/>
                    <a:pt x="109" y="120"/>
                    <a:pt x="110" y="90"/>
                  </a:cubicBezTo>
                  <a:cubicBezTo>
                    <a:pt x="112" y="3"/>
                    <a:pt x="112" y="3"/>
                    <a:pt x="112" y="3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5" name="í$1iḓè"/>
            <p:cNvSpPr/>
            <p:nvPr userDrawn="1"/>
          </p:nvSpPr>
          <p:spPr bwMode="auto">
            <a:xfrm>
              <a:off x="10011474" y="2671185"/>
              <a:ext cx="70694" cy="74320"/>
            </a:xfrm>
            <a:custGeom>
              <a:avLst/>
              <a:gdLst>
                <a:gd name="T0" fmla="*/ 0 w 20"/>
                <a:gd name="T1" fmla="*/ 10 h 21"/>
                <a:gd name="T2" fmla="*/ 10 w 20"/>
                <a:gd name="T3" fmla="*/ 20 h 21"/>
                <a:gd name="T4" fmla="*/ 20 w 20"/>
                <a:gd name="T5" fmla="*/ 11 h 21"/>
                <a:gd name="T6" fmla="*/ 10 w 20"/>
                <a:gd name="T7" fmla="*/ 0 h 21"/>
                <a:gd name="T8" fmla="*/ 0 w 20"/>
                <a:gd name="T9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1">
                  <a:moveTo>
                    <a:pt x="0" y="10"/>
                  </a:moveTo>
                  <a:cubicBezTo>
                    <a:pt x="0" y="16"/>
                    <a:pt x="4" y="20"/>
                    <a:pt x="10" y="20"/>
                  </a:cubicBezTo>
                  <a:cubicBezTo>
                    <a:pt x="15" y="21"/>
                    <a:pt x="20" y="16"/>
                    <a:pt x="20" y="11"/>
                  </a:cubicBezTo>
                  <a:cubicBezTo>
                    <a:pt x="20" y="5"/>
                    <a:pt x="16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6" name="iṩ1íḋê"/>
            <p:cNvSpPr/>
            <p:nvPr userDrawn="1"/>
          </p:nvSpPr>
          <p:spPr bwMode="auto">
            <a:xfrm>
              <a:off x="10377632" y="2647620"/>
              <a:ext cx="70694" cy="68881"/>
            </a:xfrm>
            <a:custGeom>
              <a:avLst/>
              <a:gdLst>
                <a:gd name="T0" fmla="*/ 0 w 20"/>
                <a:gd name="T1" fmla="*/ 10 h 20"/>
                <a:gd name="T2" fmla="*/ 10 w 20"/>
                <a:gd name="T3" fmla="*/ 20 h 20"/>
                <a:gd name="T4" fmla="*/ 20 w 20"/>
                <a:gd name="T5" fmla="*/ 10 h 20"/>
                <a:gd name="T6" fmla="*/ 11 w 20"/>
                <a:gd name="T7" fmla="*/ 0 h 20"/>
                <a:gd name="T8" fmla="*/ 0 w 20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0" y="10"/>
                  </a:moveTo>
                  <a:cubicBezTo>
                    <a:pt x="0" y="15"/>
                    <a:pt x="4" y="20"/>
                    <a:pt x="10" y="20"/>
                  </a:cubicBezTo>
                  <a:cubicBezTo>
                    <a:pt x="16" y="20"/>
                    <a:pt x="20" y="16"/>
                    <a:pt x="20" y="10"/>
                  </a:cubicBezTo>
                  <a:cubicBezTo>
                    <a:pt x="20" y="5"/>
                    <a:pt x="16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77" name="íŝlîḓè"/>
            <p:cNvSpPr/>
            <p:nvPr userDrawn="1"/>
          </p:nvSpPr>
          <p:spPr bwMode="auto">
            <a:xfrm>
              <a:off x="10036851" y="2518921"/>
              <a:ext cx="380659" cy="117824"/>
            </a:xfrm>
            <a:custGeom>
              <a:avLst/>
              <a:gdLst>
                <a:gd name="T0" fmla="*/ 0 w 109"/>
                <a:gd name="T1" fmla="*/ 0 h 34"/>
                <a:gd name="T2" fmla="*/ 0 w 109"/>
                <a:gd name="T3" fmla="*/ 28 h 34"/>
                <a:gd name="T4" fmla="*/ 40 w 109"/>
                <a:gd name="T5" fmla="*/ 4 h 34"/>
                <a:gd name="T6" fmla="*/ 109 w 109"/>
                <a:gd name="T7" fmla="*/ 27 h 34"/>
                <a:gd name="T8" fmla="*/ 109 w 109"/>
                <a:gd name="T9" fmla="*/ 3 h 34"/>
                <a:gd name="T10" fmla="*/ 0 w 109"/>
                <a:gd name="T11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" h="34">
                  <a:moveTo>
                    <a:pt x="0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29" y="34"/>
                    <a:pt x="40" y="4"/>
                    <a:pt x="40" y="4"/>
                  </a:cubicBezTo>
                  <a:cubicBezTo>
                    <a:pt x="61" y="28"/>
                    <a:pt x="92" y="29"/>
                    <a:pt x="109" y="27"/>
                  </a:cubicBezTo>
                  <a:cubicBezTo>
                    <a:pt x="109" y="3"/>
                    <a:pt x="109" y="3"/>
                    <a:pt x="109" y="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78A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8" name="íSḻiḍê"/>
            <p:cNvSpPr/>
            <p:nvPr userDrawn="1"/>
          </p:nvSpPr>
          <p:spPr bwMode="auto">
            <a:xfrm>
              <a:off x="9942592" y="2439163"/>
              <a:ext cx="516610" cy="201206"/>
            </a:xfrm>
            <a:custGeom>
              <a:avLst/>
              <a:gdLst>
                <a:gd name="T0" fmla="*/ 148 w 148"/>
                <a:gd name="T1" fmla="*/ 43 h 58"/>
                <a:gd name="T2" fmla="*/ 67 w 148"/>
                <a:gd name="T3" fmla="*/ 24 h 58"/>
                <a:gd name="T4" fmla="*/ 21 w 148"/>
                <a:gd name="T5" fmla="*/ 46 h 58"/>
                <a:gd name="T6" fmla="*/ 55 w 148"/>
                <a:gd name="T7" fmla="*/ 4 h 58"/>
                <a:gd name="T8" fmla="*/ 148 w 148"/>
                <a:gd name="T9" fmla="*/ 4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58">
                  <a:moveTo>
                    <a:pt x="148" y="43"/>
                  </a:moveTo>
                  <a:cubicBezTo>
                    <a:pt x="148" y="45"/>
                    <a:pt x="97" y="58"/>
                    <a:pt x="67" y="24"/>
                  </a:cubicBezTo>
                  <a:cubicBezTo>
                    <a:pt x="67" y="24"/>
                    <a:pt x="55" y="57"/>
                    <a:pt x="21" y="46"/>
                  </a:cubicBezTo>
                  <a:cubicBezTo>
                    <a:pt x="21" y="46"/>
                    <a:pt x="0" y="8"/>
                    <a:pt x="55" y="4"/>
                  </a:cubicBezTo>
                  <a:cubicBezTo>
                    <a:pt x="111" y="0"/>
                    <a:pt x="146" y="13"/>
                    <a:pt x="148" y="4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9" name="íŝḻiḓé"/>
            <p:cNvSpPr/>
            <p:nvPr userDrawn="1"/>
          </p:nvSpPr>
          <p:spPr bwMode="auto">
            <a:xfrm>
              <a:off x="10089418" y="2682060"/>
              <a:ext cx="48941" cy="63444"/>
            </a:xfrm>
            <a:custGeom>
              <a:avLst/>
              <a:gdLst>
                <a:gd name="T0" fmla="*/ 13 w 14"/>
                <a:gd name="T1" fmla="*/ 9 h 18"/>
                <a:gd name="T2" fmla="*/ 6 w 14"/>
                <a:gd name="T3" fmla="*/ 18 h 18"/>
                <a:gd name="T4" fmla="*/ 0 w 14"/>
                <a:gd name="T5" fmla="*/ 9 h 18"/>
                <a:gd name="T6" fmla="*/ 7 w 14"/>
                <a:gd name="T7" fmla="*/ 0 h 18"/>
                <a:gd name="T8" fmla="*/ 13 w 1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8">
                  <a:moveTo>
                    <a:pt x="13" y="9"/>
                  </a:moveTo>
                  <a:cubicBezTo>
                    <a:pt x="13" y="14"/>
                    <a:pt x="10" y="18"/>
                    <a:pt x="6" y="18"/>
                  </a:cubicBezTo>
                  <a:cubicBezTo>
                    <a:pt x="3" y="18"/>
                    <a:pt x="0" y="14"/>
                    <a:pt x="0" y="9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11" y="0"/>
                    <a:pt x="14" y="4"/>
                    <a:pt x="13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0" name="ï$ḷíḍé"/>
            <p:cNvSpPr/>
            <p:nvPr userDrawn="1"/>
          </p:nvSpPr>
          <p:spPr bwMode="auto">
            <a:xfrm>
              <a:off x="10245307" y="2689311"/>
              <a:ext cx="48941" cy="58005"/>
            </a:xfrm>
            <a:custGeom>
              <a:avLst/>
              <a:gdLst>
                <a:gd name="T0" fmla="*/ 14 w 14"/>
                <a:gd name="T1" fmla="*/ 9 h 17"/>
                <a:gd name="T2" fmla="*/ 7 w 14"/>
                <a:gd name="T3" fmla="*/ 17 h 17"/>
                <a:gd name="T4" fmla="*/ 0 w 14"/>
                <a:gd name="T5" fmla="*/ 8 h 17"/>
                <a:gd name="T6" fmla="*/ 7 w 14"/>
                <a:gd name="T7" fmla="*/ 0 h 17"/>
                <a:gd name="T8" fmla="*/ 14 w 1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7">
                  <a:moveTo>
                    <a:pt x="14" y="9"/>
                  </a:moveTo>
                  <a:cubicBezTo>
                    <a:pt x="14" y="13"/>
                    <a:pt x="10" y="17"/>
                    <a:pt x="7" y="17"/>
                  </a:cubicBezTo>
                  <a:cubicBezTo>
                    <a:pt x="3" y="17"/>
                    <a:pt x="0" y="13"/>
                    <a:pt x="0" y="8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4"/>
                    <a:pt x="14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1" name="ísļîḓê"/>
            <p:cNvSpPr/>
            <p:nvPr userDrawn="1"/>
          </p:nvSpPr>
          <p:spPr bwMode="auto">
            <a:xfrm>
              <a:off x="10145610" y="2731002"/>
              <a:ext cx="58005" cy="117824"/>
            </a:xfrm>
            <a:custGeom>
              <a:avLst/>
              <a:gdLst>
                <a:gd name="T0" fmla="*/ 11 w 17"/>
                <a:gd name="T1" fmla="*/ 34 h 34"/>
                <a:gd name="T2" fmla="*/ 10 w 17"/>
                <a:gd name="T3" fmla="*/ 34 h 34"/>
                <a:gd name="T4" fmla="*/ 3 w 17"/>
                <a:gd name="T5" fmla="*/ 31 h 34"/>
                <a:gd name="T6" fmla="*/ 2 w 17"/>
                <a:gd name="T7" fmla="*/ 19 h 34"/>
                <a:gd name="T8" fmla="*/ 6 w 17"/>
                <a:gd name="T9" fmla="*/ 15 h 34"/>
                <a:gd name="T10" fmla="*/ 7 w 17"/>
                <a:gd name="T11" fmla="*/ 14 h 34"/>
                <a:gd name="T12" fmla="*/ 12 w 17"/>
                <a:gd name="T13" fmla="*/ 1 h 34"/>
                <a:gd name="T14" fmla="*/ 13 w 17"/>
                <a:gd name="T15" fmla="*/ 0 h 34"/>
                <a:gd name="T16" fmla="*/ 13 w 17"/>
                <a:gd name="T17" fmla="*/ 1 h 34"/>
                <a:gd name="T18" fmla="*/ 8 w 17"/>
                <a:gd name="T19" fmla="*/ 15 h 34"/>
                <a:gd name="T20" fmla="*/ 6 w 17"/>
                <a:gd name="T21" fmla="*/ 16 h 34"/>
                <a:gd name="T22" fmla="*/ 3 w 17"/>
                <a:gd name="T23" fmla="*/ 19 h 34"/>
                <a:gd name="T24" fmla="*/ 4 w 17"/>
                <a:gd name="T25" fmla="*/ 30 h 34"/>
                <a:gd name="T26" fmla="*/ 10 w 17"/>
                <a:gd name="T27" fmla="*/ 33 h 34"/>
                <a:gd name="T28" fmla="*/ 17 w 17"/>
                <a:gd name="T29" fmla="*/ 32 h 34"/>
                <a:gd name="T30" fmla="*/ 17 w 17"/>
                <a:gd name="T31" fmla="*/ 33 h 34"/>
                <a:gd name="T32" fmla="*/ 17 w 17"/>
                <a:gd name="T33" fmla="*/ 33 h 34"/>
                <a:gd name="T34" fmla="*/ 11 w 17"/>
                <a:gd name="T3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34">
                  <a:moveTo>
                    <a:pt x="11" y="34"/>
                  </a:moveTo>
                  <a:cubicBezTo>
                    <a:pt x="11" y="34"/>
                    <a:pt x="10" y="34"/>
                    <a:pt x="10" y="34"/>
                  </a:cubicBezTo>
                  <a:cubicBezTo>
                    <a:pt x="8" y="33"/>
                    <a:pt x="5" y="33"/>
                    <a:pt x="3" y="31"/>
                  </a:cubicBezTo>
                  <a:cubicBezTo>
                    <a:pt x="0" y="28"/>
                    <a:pt x="0" y="23"/>
                    <a:pt x="2" y="19"/>
                  </a:cubicBezTo>
                  <a:cubicBezTo>
                    <a:pt x="3" y="17"/>
                    <a:pt x="5" y="16"/>
                    <a:pt x="6" y="15"/>
                  </a:cubicBezTo>
                  <a:cubicBezTo>
                    <a:pt x="6" y="15"/>
                    <a:pt x="7" y="14"/>
                    <a:pt x="7" y="14"/>
                  </a:cubicBezTo>
                  <a:cubicBezTo>
                    <a:pt x="11" y="10"/>
                    <a:pt x="13" y="5"/>
                    <a:pt x="12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5"/>
                    <a:pt x="12" y="11"/>
                    <a:pt x="8" y="15"/>
                  </a:cubicBezTo>
                  <a:cubicBezTo>
                    <a:pt x="8" y="15"/>
                    <a:pt x="7" y="16"/>
                    <a:pt x="6" y="16"/>
                  </a:cubicBezTo>
                  <a:cubicBezTo>
                    <a:pt x="5" y="17"/>
                    <a:pt x="4" y="18"/>
                    <a:pt x="3" y="19"/>
                  </a:cubicBezTo>
                  <a:cubicBezTo>
                    <a:pt x="1" y="23"/>
                    <a:pt x="1" y="27"/>
                    <a:pt x="4" y="30"/>
                  </a:cubicBezTo>
                  <a:cubicBezTo>
                    <a:pt x="6" y="32"/>
                    <a:pt x="8" y="32"/>
                    <a:pt x="10" y="33"/>
                  </a:cubicBezTo>
                  <a:cubicBezTo>
                    <a:pt x="12" y="33"/>
                    <a:pt x="14" y="33"/>
                    <a:pt x="17" y="3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5" y="34"/>
                    <a:pt x="13" y="34"/>
                    <a:pt x="11" y="34"/>
                  </a:cubicBezTo>
                  <a:close/>
                </a:path>
              </a:pathLst>
            </a:custGeom>
            <a:solidFill>
              <a:srgbClr val="DD6C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2" name="iṩḻíḓê"/>
            <p:cNvSpPr/>
            <p:nvPr userDrawn="1"/>
          </p:nvSpPr>
          <p:spPr bwMode="auto">
            <a:xfrm>
              <a:off x="10138360" y="2859701"/>
              <a:ext cx="145013" cy="72506"/>
            </a:xfrm>
            <a:custGeom>
              <a:avLst/>
              <a:gdLst>
                <a:gd name="T0" fmla="*/ 13 w 42"/>
                <a:gd name="T1" fmla="*/ 21 h 21"/>
                <a:gd name="T2" fmla="*/ 11 w 42"/>
                <a:gd name="T3" fmla="*/ 21 h 21"/>
                <a:gd name="T4" fmla="*/ 0 w 42"/>
                <a:gd name="T5" fmla="*/ 18 h 21"/>
                <a:gd name="T6" fmla="*/ 0 w 42"/>
                <a:gd name="T7" fmla="*/ 17 h 21"/>
                <a:gd name="T8" fmla="*/ 1 w 42"/>
                <a:gd name="T9" fmla="*/ 17 h 21"/>
                <a:gd name="T10" fmla="*/ 11 w 42"/>
                <a:gd name="T11" fmla="*/ 20 h 21"/>
                <a:gd name="T12" fmla="*/ 16 w 42"/>
                <a:gd name="T13" fmla="*/ 20 h 21"/>
                <a:gd name="T14" fmla="*/ 21 w 42"/>
                <a:gd name="T15" fmla="*/ 19 h 21"/>
                <a:gd name="T16" fmla="*/ 41 w 42"/>
                <a:gd name="T17" fmla="*/ 1 h 21"/>
                <a:gd name="T18" fmla="*/ 42 w 42"/>
                <a:gd name="T19" fmla="*/ 0 h 21"/>
                <a:gd name="T20" fmla="*/ 42 w 42"/>
                <a:gd name="T21" fmla="*/ 1 h 21"/>
                <a:gd name="T22" fmla="*/ 21 w 42"/>
                <a:gd name="T23" fmla="*/ 20 h 21"/>
                <a:gd name="T24" fmla="*/ 16 w 42"/>
                <a:gd name="T25" fmla="*/ 21 h 21"/>
                <a:gd name="T26" fmla="*/ 13 w 42"/>
                <a:gd name="T2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21">
                  <a:moveTo>
                    <a:pt x="13" y="21"/>
                  </a:moveTo>
                  <a:cubicBezTo>
                    <a:pt x="12" y="21"/>
                    <a:pt x="12" y="21"/>
                    <a:pt x="11" y="21"/>
                  </a:cubicBezTo>
                  <a:cubicBezTo>
                    <a:pt x="7" y="20"/>
                    <a:pt x="3" y="20"/>
                    <a:pt x="0" y="1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4" y="19"/>
                    <a:pt x="7" y="19"/>
                    <a:pt x="11" y="20"/>
                  </a:cubicBezTo>
                  <a:cubicBezTo>
                    <a:pt x="13" y="20"/>
                    <a:pt x="14" y="20"/>
                    <a:pt x="16" y="20"/>
                  </a:cubicBezTo>
                  <a:cubicBezTo>
                    <a:pt x="18" y="20"/>
                    <a:pt x="19" y="19"/>
                    <a:pt x="21" y="19"/>
                  </a:cubicBezTo>
                  <a:cubicBezTo>
                    <a:pt x="30" y="16"/>
                    <a:pt x="38" y="9"/>
                    <a:pt x="41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38" y="10"/>
                    <a:pt x="31" y="17"/>
                    <a:pt x="21" y="20"/>
                  </a:cubicBezTo>
                  <a:cubicBezTo>
                    <a:pt x="20" y="20"/>
                    <a:pt x="18" y="21"/>
                    <a:pt x="16" y="21"/>
                  </a:cubicBezTo>
                  <a:cubicBezTo>
                    <a:pt x="15" y="21"/>
                    <a:pt x="14" y="21"/>
                    <a:pt x="13" y="21"/>
                  </a:cubicBezTo>
                  <a:close/>
                </a:path>
              </a:pathLst>
            </a:custGeom>
            <a:solidFill>
              <a:srgbClr val="DD6C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3" name="işḷïḓê"/>
            <p:cNvSpPr/>
            <p:nvPr userDrawn="1"/>
          </p:nvSpPr>
          <p:spPr bwMode="auto">
            <a:xfrm>
              <a:off x="10228994" y="2643995"/>
              <a:ext cx="94259" cy="34441"/>
            </a:xfrm>
            <a:custGeom>
              <a:avLst/>
              <a:gdLst>
                <a:gd name="T0" fmla="*/ 26 w 27"/>
                <a:gd name="T1" fmla="*/ 7 h 10"/>
                <a:gd name="T2" fmla="*/ 27 w 27"/>
                <a:gd name="T3" fmla="*/ 8 h 10"/>
                <a:gd name="T4" fmla="*/ 25 w 27"/>
                <a:gd name="T5" fmla="*/ 10 h 10"/>
                <a:gd name="T6" fmla="*/ 18 w 27"/>
                <a:gd name="T7" fmla="*/ 8 h 10"/>
                <a:gd name="T8" fmla="*/ 5 w 27"/>
                <a:gd name="T9" fmla="*/ 7 h 10"/>
                <a:gd name="T10" fmla="*/ 0 w 27"/>
                <a:gd name="T11" fmla="*/ 6 h 10"/>
                <a:gd name="T12" fmla="*/ 2 w 27"/>
                <a:gd name="T13" fmla="*/ 2 h 10"/>
                <a:gd name="T14" fmla="*/ 8 w 27"/>
                <a:gd name="T15" fmla="*/ 0 h 10"/>
                <a:gd name="T16" fmla="*/ 26 w 27"/>
                <a:gd name="T17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0">
                  <a:moveTo>
                    <a:pt x="26" y="7"/>
                  </a:moveTo>
                  <a:cubicBezTo>
                    <a:pt x="26" y="7"/>
                    <a:pt x="27" y="7"/>
                    <a:pt x="27" y="8"/>
                  </a:cubicBezTo>
                  <a:cubicBezTo>
                    <a:pt x="27" y="9"/>
                    <a:pt x="26" y="10"/>
                    <a:pt x="25" y="10"/>
                  </a:cubicBezTo>
                  <a:cubicBezTo>
                    <a:pt x="22" y="10"/>
                    <a:pt x="20" y="9"/>
                    <a:pt x="18" y="8"/>
                  </a:cubicBezTo>
                  <a:cubicBezTo>
                    <a:pt x="14" y="6"/>
                    <a:pt x="9" y="6"/>
                    <a:pt x="5" y="7"/>
                  </a:cubicBezTo>
                  <a:cubicBezTo>
                    <a:pt x="3" y="7"/>
                    <a:pt x="1" y="7"/>
                    <a:pt x="0" y="6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1"/>
                    <a:pt x="6" y="1"/>
                    <a:pt x="8" y="0"/>
                  </a:cubicBezTo>
                  <a:cubicBezTo>
                    <a:pt x="15" y="0"/>
                    <a:pt x="21" y="1"/>
                    <a:pt x="26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4" name="íśḷiḓe"/>
            <p:cNvSpPr/>
            <p:nvPr userDrawn="1"/>
          </p:nvSpPr>
          <p:spPr bwMode="auto">
            <a:xfrm>
              <a:off x="10071291" y="2636744"/>
              <a:ext cx="94259" cy="38066"/>
            </a:xfrm>
            <a:custGeom>
              <a:avLst/>
              <a:gdLst>
                <a:gd name="T0" fmla="*/ 1 w 27"/>
                <a:gd name="T1" fmla="*/ 7 h 11"/>
                <a:gd name="T2" fmla="*/ 0 w 27"/>
                <a:gd name="T3" fmla="*/ 8 h 11"/>
                <a:gd name="T4" fmla="*/ 2 w 27"/>
                <a:gd name="T5" fmla="*/ 10 h 11"/>
                <a:gd name="T6" fmla="*/ 9 w 27"/>
                <a:gd name="T7" fmla="*/ 8 h 11"/>
                <a:gd name="T8" fmla="*/ 22 w 27"/>
                <a:gd name="T9" fmla="*/ 8 h 11"/>
                <a:gd name="T10" fmla="*/ 26 w 27"/>
                <a:gd name="T11" fmla="*/ 8 h 11"/>
                <a:gd name="T12" fmla="*/ 25 w 27"/>
                <a:gd name="T13" fmla="*/ 4 h 11"/>
                <a:gd name="T14" fmla="*/ 19 w 27"/>
                <a:gd name="T15" fmla="*/ 2 h 11"/>
                <a:gd name="T16" fmla="*/ 1 w 27"/>
                <a:gd name="T1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1">
                  <a:moveTo>
                    <a:pt x="1" y="7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5" y="11"/>
                    <a:pt x="7" y="9"/>
                    <a:pt x="9" y="8"/>
                  </a:cubicBezTo>
                  <a:cubicBezTo>
                    <a:pt x="13" y="7"/>
                    <a:pt x="18" y="7"/>
                    <a:pt x="22" y="8"/>
                  </a:cubicBezTo>
                  <a:cubicBezTo>
                    <a:pt x="24" y="9"/>
                    <a:pt x="26" y="9"/>
                    <a:pt x="26" y="8"/>
                  </a:cubicBezTo>
                  <a:cubicBezTo>
                    <a:pt x="27" y="6"/>
                    <a:pt x="26" y="5"/>
                    <a:pt x="25" y="4"/>
                  </a:cubicBezTo>
                  <a:cubicBezTo>
                    <a:pt x="23" y="3"/>
                    <a:pt x="21" y="2"/>
                    <a:pt x="19" y="2"/>
                  </a:cubicBezTo>
                  <a:cubicBezTo>
                    <a:pt x="13" y="0"/>
                    <a:pt x="6" y="1"/>
                    <a:pt x="1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5" name="íşḷíḑê"/>
            <p:cNvSpPr/>
            <p:nvPr userDrawn="1"/>
          </p:nvSpPr>
          <p:spPr bwMode="auto">
            <a:xfrm>
              <a:off x="9474924" y="5613142"/>
              <a:ext cx="534736" cy="425977"/>
            </a:xfrm>
            <a:custGeom>
              <a:avLst/>
              <a:gdLst>
                <a:gd name="T0" fmla="*/ 152 w 153"/>
                <a:gd name="T1" fmla="*/ 0 h 122"/>
                <a:gd name="T2" fmla="*/ 152 w 153"/>
                <a:gd name="T3" fmla="*/ 72 h 122"/>
                <a:gd name="T4" fmla="*/ 152 w 153"/>
                <a:gd name="T5" fmla="*/ 91 h 122"/>
                <a:gd name="T6" fmla="*/ 135 w 153"/>
                <a:gd name="T7" fmla="*/ 118 h 122"/>
                <a:gd name="T8" fmla="*/ 15 w 153"/>
                <a:gd name="T9" fmla="*/ 118 h 122"/>
                <a:gd name="T10" fmla="*/ 15 w 153"/>
                <a:gd name="T11" fmla="*/ 105 h 122"/>
                <a:gd name="T12" fmla="*/ 110 w 153"/>
                <a:gd name="T13" fmla="*/ 73 h 122"/>
                <a:gd name="T14" fmla="*/ 116 w 153"/>
                <a:gd name="T15" fmla="*/ 71 h 122"/>
                <a:gd name="T16" fmla="*/ 116 w 153"/>
                <a:gd name="T17" fmla="*/ 12 h 122"/>
                <a:gd name="T18" fmla="*/ 152 w 153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122">
                  <a:moveTo>
                    <a:pt x="152" y="0"/>
                  </a:moveTo>
                  <a:cubicBezTo>
                    <a:pt x="152" y="72"/>
                    <a:pt x="152" y="72"/>
                    <a:pt x="152" y="72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3" y="122"/>
                    <a:pt x="135" y="118"/>
                    <a:pt x="135" y="118"/>
                  </a:cubicBezTo>
                  <a:cubicBezTo>
                    <a:pt x="135" y="118"/>
                    <a:pt x="30" y="120"/>
                    <a:pt x="15" y="118"/>
                  </a:cubicBezTo>
                  <a:cubicBezTo>
                    <a:pt x="0" y="115"/>
                    <a:pt x="15" y="105"/>
                    <a:pt x="15" y="105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16" y="71"/>
                    <a:pt x="116" y="71"/>
                    <a:pt x="116" y="71"/>
                  </a:cubicBezTo>
                  <a:cubicBezTo>
                    <a:pt x="116" y="12"/>
                    <a:pt x="116" y="12"/>
                    <a:pt x="116" y="12"/>
                  </a:cubicBezTo>
                  <a:lnTo>
                    <a:pt x="152" y="0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86" name="islîḍé"/>
            <p:cNvSpPr/>
            <p:nvPr userDrawn="1"/>
          </p:nvSpPr>
          <p:spPr bwMode="auto">
            <a:xfrm>
              <a:off x="9879148" y="5763593"/>
              <a:ext cx="126886" cy="23565"/>
            </a:xfrm>
            <a:prstGeom prst="rect">
              <a:avLst/>
            </a:pr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87" name="ïṣlïďê"/>
            <p:cNvSpPr/>
            <p:nvPr userDrawn="1"/>
          </p:nvSpPr>
          <p:spPr bwMode="auto">
            <a:xfrm>
              <a:off x="9503927" y="5861476"/>
              <a:ext cx="502108" cy="170390"/>
            </a:xfrm>
            <a:custGeom>
              <a:avLst/>
              <a:gdLst>
                <a:gd name="T0" fmla="*/ 144 w 144"/>
                <a:gd name="T1" fmla="*/ 1 h 49"/>
                <a:gd name="T2" fmla="*/ 144 w 144"/>
                <a:gd name="T3" fmla="*/ 20 h 49"/>
                <a:gd name="T4" fmla="*/ 142 w 144"/>
                <a:gd name="T5" fmla="*/ 37 h 49"/>
                <a:gd name="T6" fmla="*/ 127 w 144"/>
                <a:gd name="T7" fmla="*/ 47 h 49"/>
                <a:gd name="T8" fmla="*/ 7 w 144"/>
                <a:gd name="T9" fmla="*/ 47 h 49"/>
                <a:gd name="T10" fmla="*/ 1 w 144"/>
                <a:gd name="T11" fmla="*/ 41 h 49"/>
                <a:gd name="T12" fmla="*/ 7 w 144"/>
                <a:gd name="T13" fmla="*/ 34 h 49"/>
                <a:gd name="T14" fmla="*/ 108 w 144"/>
                <a:gd name="T15" fmla="*/ 0 h 49"/>
                <a:gd name="T16" fmla="*/ 142 w 144"/>
                <a:gd name="T17" fmla="*/ 2 h 49"/>
                <a:gd name="T18" fmla="*/ 144 w 144"/>
                <a:gd name="T19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49">
                  <a:moveTo>
                    <a:pt x="144" y="1"/>
                  </a:moveTo>
                  <a:cubicBezTo>
                    <a:pt x="144" y="20"/>
                    <a:pt x="144" y="20"/>
                    <a:pt x="144" y="20"/>
                  </a:cubicBezTo>
                  <a:cubicBezTo>
                    <a:pt x="144" y="27"/>
                    <a:pt x="143" y="33"/>
                    <a:pt x="142" y="37"/>
                  </a:cubicBezTo>
                  <a:cubicBezTo>
                    <a:pt x="137" y="49"/>
                    <a:pt x="127" y="47"/>
                    <a:pt x="127" y="47"/>
                  </a:cubicBezTo>
                  <a:cubicBezTo>
                    <a:pt x="127" y="47"/>
                    <a:pt x="22" y="49"/>
                    <a:pt x="7" y="47"/>
                  </a:cubicBezTo>
                  <a:cubicBezTo>
                    <a:pt x="1" y="46"/>
                    <a:pt x="0" y="44"/>
                    <a:pt x="1" y="41"/>
                  </a:cubicBezTo>
                  <a:cubicBezTo>
                    <a:pt x="2" y="38"/>
                    <a:pt x="7" y="34"/>
                    <a:pt x="7" y="34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21" y="4"/>
                    <a:pt x="129" y="4"/>
                    <a:pt x="142" y="2"/>
                  </a:cubicBezTo>
                  <a:cubicBezTo>
                    <a:pt x="143" y="2"/>
                    <a:pt x="143" y="2"/>
                    <a:pt x="14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88" name="ïṧḻidê"/>
            <p:cNvSpPr/>
            <p:nvPr userDrawn="1"/>
          </p:nvSpPr>
          <p:spPr bwMode="auto">
            <a:xfrm>
              <a:off x="9685193" y="5908605"/>
              <a:ext cx="41690" cy="81570"/>
            </a:xfrm>
            <a:custGeom>
              <a:avLst/>
              <a:gdLst>
                <a:gd name="T0" fmla="*/ 10 w 12"/>
                <a:gd name="T1" fmla="*/ 22 h 23"/>
                <a:gd name="T2" fmla="*/ 10 w 12"/>
                <a:gd name="T3" fmla="*/ 22 h 23"/>
                <a:gd name="T4" fmla="*/ 7 w 12"/>
                <a:gd name="T5" fmla="*/ 21 h 23"/>
                <a:gd name="T6" fmla="*/ 0 w 12"/>
                <a:gd name="T7" fmla="*/ 4 h 23"/>
                <a:gd name="T8" fmla="*/ 2 w 12"/>
                <a:gd name="T9" fmla="*/ 1 h 23"/>
                <a:gd name="T10" fmla="*/ 5 w 12"/>
                <a:gd name="T11" fmla="*/ 2 h 23"/>
                <a:gd name="T12" fmla="*/ 12 w 12"/>
                <a:gd name="T13" fmla="*/ 19 h 23"/>
                <a:gd name="T14" fmla="*/ 10 w 12"/>
                <a:gd name="T15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3">
                  <a:moveTo>
                    <a:pt x="10" y="22"/>
                  </a:moveTo>
                  <a:cubicBezTo>
                    <a:pt x="10" y="22"/>
                    <a:pt x="10" y="22"/>
                    <a:pt x="10" y="22"/>
                  </a:cubicBezTo>
                  <a:cubicBezTo>
                    <a:pt x="9" y="23"/>
                    <a:pt x="8" y="22"/>
                    <a:pt x="7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3" y="0"/>
                    <a:pt x="5" y="1"/>
                    <a:pt x="5" y="2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0"/>
                    <a:pt x="12" y="22"/>
                    <a:pt x="10" y="22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9" name="ïşľïďe"/>
            <p:cNvSpPr/>
            <p:nvPr userDrawn="1"/>
          </p:nvSpPr>
          <p:spPr bwMode="auto">
            <a:xfrm>
              <a:off x="9708757" y="5903169"/>
              <a:ext cx="41690" cy="76131"/>
            </a:xfrm>
            <a:custGeom>
              <a:avLst/>
              <a:gdLst>
                <a:gd name="T0" fmla="*/ 10 w 12"/>
                <a:gd name="T1" fmla="*/ 21 h 22"/>
                <a:gd name="T2" fmla="*/ 10 w 12"/>
                <a:gd name="T3" fmla="*/ 21 h 22"/>
                <a:gd name="T4" fmla="*/ 7 w 12"/>
                <a:gd name="T5" fmla="*/ 20 h 22"/>
                <a:gd name="T6" fmla="*/ 1 w 12"/>
                <a:gd name="T7" fmla="*/ 3 h 22"/>
                <a:gd name="T8" fmla="*/ 2 w 12"/>
                <a:gd name="T9" fmla="*/ 0 h 22"/>
                <a:gd name="T10" fmla="*/ 5 w 12"/>
                <a:gd name="T11" fmla="*/ 2 h 22"/>
                <a:gd name="T12" fmla="*/ 12 w 12"/>
                <a:gd name="T13" fmla="*/ 18 h 22"/>
                <a:gd name="T14" fmla="*/ 10 w 12"/>
                <a:gd name="T15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2">
                  <a:moveTo>
                    <a:pt x="10" y="21"/>
                  </a:moveTo>
                  <a:cubicBezTo>
                    <a:pt x="10" y="21"/>
                    <a:pt x="10" y="21"/>
                    <a:pt x="10" y="21"/>
                  </a:cubicBezTo>
                  <a:cubicBezTo>
                    <a:pt x="9" y="22"/>
                    <a:pt x="8" y="21"/>
                    <a:pt x="7" y="2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3" y="0"/>
                    <a:pt x="5" y="0"/>
                    <a:pt x="5" y="2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9"/>
                    <a:pt x="12" y="21"/>
                    <a:pt x="10" y="21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0" name="ï$ľíḍê"/>
            <p:cNvSpPr/>
            <p:nvPr userDrawn="1"/>
          </p:nvSpPr>
          <p:spPr bwMode="auto">
            <a:xfrm>
              <a:off x="9734135" y="5892293"/>
              <a:ext cx="41690" cy="76131"/>
            </a:xfrm>
            <a:custGeom>
              <a:avLst/>
              <a:gdLst>
                <a:gd name="T0" fmla="*/ 10 w 12"/>
                <a:gd name="T1" fmla="*/ 22 h 22"/>
                <a:gd name="T2" fmla="*/ 10 w 12"/>
                <a:gd name="T3" fmla="*/ 22 h 22"/>
                <a:gd name="T4" fmla="*/ 7 w 12"/>
                <a:gd name="T5" fmla="*/ 20 h 22"/>
                <a:gd name="T6" fmla="*/ 0 w 12"/>
                <a:gd name="T7" fmla="*/ 4 h 22"/>
                <a:gd name="T8" fmla="*/ 2 w 12"/>
                <a:gd name="T9" fmla="*/ 0 h 22"/>
                <a:gd name="T10" fmla="*/ 5 w 12"/>
                <a:gd name="T11" fmla="*/ 2 h 22"/>
                <a:gd name="T12" fmla="*/ 11 w 12"/>
                <a:gd name="T13" fmla="*/ 19 h 22"/>
                <a:gd name="T14" fmla="*/ 10 w 1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2">
                  <a:moveTo>
                    <a:pt x="10" y="22"/>
                  </a:moveTo>
                  <a:cubicBezTo>
                    <a:pt x="10" y="22"/>
                    <a:pt x="10" y="22"/>
                    <a:pt x="10" y="22"/>
                  </a:cubicBezTo>
                  <a:cubicBezTo>
                    <a:pt x="9" y="22"/>
                    <a:pt x="7" y="22"/>
                    <a:pt x="7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4" y="1"/>
                    <a:pt x="5" y="2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2" y="20"/>
                    <a:pt x="11" y="21"/>
                    <a:pt x="10" y="22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1" name="iŝḻiḍé"/>
            <p:cNvSpPr/>
            <p:nvPr userDrawn="1"/>
          </p:nvSpPr>
          <p:spPr bwMode="auto">
            <a:xfrm>
              <a:off x="9503927" y="5986551"/>
              <a:ext cx="494857" cy="45317"/>
            </a:xfrm>
            <a:custGeom>
              <a:avLst/>
              <a:gdLst>
                <a:gd name="T0" fmla="*/ 142 w 142"/>
                <a:gd name="T1" fmla="*/ 1 h 13"/>
                <a:gd name="T2" fmla="*/ 127 w 142"/>
                <a:gd name="T3" fmla="*/ 11 h 13"/>
                <a:gd name="T4" fmla="*/ 7 w 142"/>
                <a:gd name="T5" fmla="*/ 11 h 13"/>
                <a:gd name="T6" fmla="*/ 1 w 142"/>
                <a:gd name="T7" fmla="*/ 5 h 13"/>
                <a:gd name="T8" fmla="*/ 9 w 142"/>
                <a:gd name="T9" fmla="*/ 7 h 13"/>
                <a:gd name="T10" fmla="*/ 25 w 142"/>
                <a:gd name="T11" fmla="*/ 8 h 13"/>
                <a:gd name="T12" fmla="*/ 43 w 142"/>
                <a:gd name="T13" fmla="*/ 7 h 13"/>
                <a:gd name="T14" fmla="*/ 140 w 142"/>
                <a:gd name="T15" fmla="*/ 1 h 13"/>
                <a:gd name="T16" fmla="*/ 142 w 142"/>
                <a:gd name="T1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2" h="13">
                  <a:moveTo>
                    <a:pt x="142" y="1"/>
                  </a:moveTo>
                  <a:cubicBezTo>
                    <a:pt x="137" y="13"/>
                    <a:pt x="127" y="11"/>
                    <a:pt x="127" y="11"/>
                  </a:cubicBezTo>
                  <a:cubicBezTo>
                    <a:pt x="127" y="11"/>
                    <a:pt x="22" y="13"/>
                    <a:pt x="7" y="11"/>
                  </a:cubicBezTo>
                  <a:cubicBezTo>
                    <a:pt x="1" y="10"/>
                    <a:pt x="0" y="8"/>
                    <a:pt x="1" y="5"/>
                  </a:cubicBezTo>
                  <a:cubicBezTo>
                    <a:pt x="3" y="6"/>
                    <a:pt x="6" y="7"/>
                    <a:pt x="9" y="7"/>
                  </a:cubicBezTo>
                  <a:cubicBezTo>
                    <a:pt x="14" y="7"/>
                    <a:pt x="20" y="8"/>
                    <a:pt x="25" y="8"/>
                  </a:cubicBezTo>
                  <a:cubicBezTo>
                    <a:pt x="31" y="8"/>
                    <a:pt x="37" y="8"/>
                    <a:pt x="43" y="7"/>
                  </a:cubicBezTo>
                  <a:cubicBezTo>
                    <a:pt x="75" y="5"/>
                    <a:pt x="107" y="0"/>
                    <a:pt x="140" y="1"/>
                  </a:cubicBezTo>
                  <a:cubicBezTo>
                    <a:pt x="140" y="1"/>
                    <a:pt x="141" y="1"/>
                    <a:pt x="142" y="1"/>
                  </a:cubicBezTo>
                  <a:close/>
                </a:path>
              </a:pathLst>
            </a:custGeom>
            <a:solidFill>
              <a:srgbClr val="E8E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2" name="îṡľide"/>
            <p:cNvSpPr/>
            <p:nvPr userDrawn="1"/>
          </p:nvSpPr>
          <p:spPr bwMode="auto">
            <a:xfrm>
              <a:off x="10323252" y="5613142"/>
              <a:ext cx="529298" cy="425977"/>
            </a:xfrm>
            <a:custGeom>
              <a:avLst/>
              <a:gdLst>
                <a:gd name="T0" fmla="*/ 1 w 152"/>
                <a:gd name="T1" fmla="*/ 0 h 122"/>
                <a:gd name="T2" fmla="*/ 1 w 152"/>
                <a:gd name="T3" fmla="*/ 72 h 122"/>
                <a:gd name="T4" fmla="*/ 1 w 152"/>
                <a:gd name="T5" fmla="*/ 91 h 122"/>
                <a:gd name="T6" fmla="*/ 18 w 152"/>
                <a:gd name="T7" fmla="*/ 118 h 122"/>
                <a:gd name="T8" fmla="*/ 138 w 152"/>
                <a:gd name="T9" fmla="*/ 118 h 122"/>
                <a:gd name="T10" fmla="*/ 138 w 152"/>
                <a:gd name="T11" fmla="*/ 105 h 122"/>
                <a:gd name="T12" fmla="*/ 43 w 152"/>
                <a:gd name="T13" fmla="*/ 73 h 122"/>
                <a:gd name="T14" fmla="*/ 37 w 152"/>
                <a:gd name="T15" fmla="*/ 71 h 122"/>
                <a:gd name="T16" fmla="*/ 37 w 152"/>
                <a:gd name="T17" fmla="*/ 12 h 122"/>
                <a:gd name="T18" fmla="*/ 1 w 152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2" h="122">
                  <a:moveTo>
                    <a:pt x="1" y="0"/>
                  </a:moveTo>
                  <a:cubicBezTo>
                    <a:pt x="1" y="72"/>
                    <a:pt x="1" y="72"/>
                    <a:pt x="1" y="72"/>
                  </a:cubicBezTo>
                  <a:cubicBezTo>
                    <a:pt x="1" y="91"/>
                    <a:pt x="1" y="91"/>
                    <a:pt x="1" y="91"/>
                  </a:cubicBezTo>
                  <a:cubicBezTo>
                    <a:pt x="0" y="122"/>
                    <a:pt x="18" y="118"/>
                    <a:pt x="18" y="118"/>
                  </a:cubicBezTo>
                  <a:cubicBezTo>
                    <a:pt x="18" y="118"/>
                    <a:pt x="123" y="120"/>
                    <a:pt x="138" y="118"/>
                  </a:cubicBezTo>
                  <a:cubicBezTo>
                    <a:pt x="152" y="115"/>
                    <a:pt x="138" y="105"/>
                    <a:pt x="138" y="105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37" y="71"/>
                    <a:pt x="37" y="71"/>
                    <a:pt x="37" y="71"/>
                  </a:cubicBezTo>
                  <a:cubicBezTo>
                    <a:pt x="37" y="12"/>
                    <a:pt x="37" y="12"/>
                    <a:pt x="37" y="12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93" name="îṡlïdê"/>
            <p:cNvSpPr/>
            <p:nvPr userDrawn="1"/>
          </p:nvSpPr>
          <p:spPr bwMode="auto">
            <a:xfrm>
              <a:off x="10326878" y="5763593"/>
              <a:ext cx="125073" cy="23565"/>
            </a:xfrm>
            <a:prstGeom prst="rect">
              <a:avLst/>
            </a:pr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94" name="iṡḻiḍé"/>
            <p:cNvSpPr/>
            <p:nvPr userDrawn="1"/>
          </p:nvSpPr>
          <p:spPr bwMode="auto">
            <a:xfrm>
              <a:off x="10326878" y="5861476"/>
              <a:ext cx="500296" cy="170390"/>
            </a:xfrm>
            <a:custGeom>
              <a:avLst/>
              <a:gdLst>
                <a:gd name="T0" fmla="*/ 0 w 144"/>
                <a:gd name="T1" fmla="*/ 1 h 49"/>
                <a:gd name="T2" fmla="*/ 0 w 144"/>
                <a:gd name="T3" fmla="*/ 20 h 49"/>
                <a:gd name="T4" fmla="*/ 2 w 144"/>
                <a:gd name="T5" fmla="*/ 37 h 49"/>
                <a:gd name="T6" fmla="*/ 17 w 144"/>
                <a:gd name="T7" fmla="*/ 47 h 49"/>
                <a:gd name="T8" fmla="*/ 137 w 144"/>
                <a:gd name="T9" fmla="*/ 47 h 49"/>
                <a:gd name="T10" fmla="*/ 143 w 144"/>
                <a:gd name="T11" fmla="*/ 41 h 49"/>
                <a:gd name="T12" fmla="*/ 137 w 144"/>
                <a:gd name="T13" fmla="*/ 34 h 49"/>
                <a:gd name="T14" fmla="*/ 36 w 144"/>
                <a:gd name="T15" fmla="*/ 0 h 49"/>
                <a:gd name="T16" fmla="*/ 1 w 144"/>
                <a:gd name="T17" fmla="*/ 2 h 49"/>
                <a:gd name="T18" fmla="*/ 0 w 144"/>
                <a:gd name="T19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49">
                  <a:moveTo>
                    <a:pt x="0" y="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7"/>
                    <a:pt x="1" y="33"/>
                    <a:pt x="2" y="37"/>
                  </a:cubicBezTo>
                  <a:cubicBezTo>
                    <a:pt x="7" y="49"/>
                    <a:pt x="17" y="47"/>
                    <a:pt x="17" y="47"/>
                  </a:cubicBezTo>
                  <a:cubicBezTo>
                    <a:pt x="17" y="47"/>
                    <a:pt x="122" y="49"/>
                    <a:pt x="137" y="47"/>
                  </a:cubicBezTo>
                  <a:cubicBezTo>
                    <a:pt x="143" y="46"/>
                    <a:pt x="144" y="44"/>
                    <a:pt x="143" y="41"/>
                  </a:cubicBezTo>
                  <a:cubicBezTo>
                    <a:pt x="142" y="38"/>
                    <a:pt x="137" y="34"/>
                    <a:pt x="137" y="34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3" y="4"/>
                    <a:pt x="15" y="4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95" name="îs1iḓe"/>
            <p:cNvSpPr/>
            <p:nvPr userDrawn="1"/>
          </p:nvSpPr>
          <p:spPr bwMode="auto">
            <a:xfrm>
              <a:off x="10604215" y="5908605"/>
              <a:ext cx="41690" cy="81570"/>
            </a:xfrm>
            <a:custGeom>
              <a:avLst/>
              <a:gdLst>
                <a:gd name="T0" fmla="*/ 1 w 12"/>
                <a:gd name="T1" fmla="*/ 22 h 23"/>
                <a:gd name="T2" fmla="*/ 1 w 12"/>
                <a:gd name="T3" fmla="*/ 22 h 23"/>
                <a:gd name="T4" fmla="*/ 5 w 12"/>
                <a:gd name="T5" fmla="*/ 21 h 23"/>
                <a:gd name="T6" fmla="*/ 11 w 12"/>
                <a:gd name="T7" fmla="*/ 4 h 23"/>
                <a:gd name="T8" fmla="*/ 10 w 12"/>
                <a:gd name="T9" fmla="*/ 1 h 23"/>
                <a:gd name="T10" fmla="*/ 7 w 12"/>
                <a:gd name="T11" fmla="*/ 2 h 23"/>
                <a:gd name="T12" fmla="*/ 0 w 12"/>
                <a:gd name="T13" fmla="*/ 19 h 23"/>
                <a:gd name="T14" fmla="*/ 1 w 12"/>
                <a:gd name="T15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3">
                  <a:moveTo>
                    <a:pt x="1" y="22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3" y="23"/>
                    <a:pt x="4" y="22"/>
                    <a:pt x="5" y="21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2" y="3"/>
                    <a:pt x="11" y="1"/>
                    <a:pt x="10" y="1"/>
                  </a:cubicBezTo>
                  <a:cubicBezTo>
                    <a:pt x="9" y="0"/>
                    <a:pt x="7" y="1"/>
                    <a:pt x="7" y="2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2"/>
                    <a:pt x="1" y="22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6" name="íṩlíḓè"/>
            <p:cNvSpPr/>
            <p:nvPr userDrawn="1"/>
          </p:nvSpPr>
          <p:spPr bwMode="auto">
            <a:xfrm>
              <a:off x="10577026" y="5903169"/>
              <a:ext cx="45316" cy="76131"/>
            </a:xfrm>
            <a:custGeom>
              <a:avLst/>
              <a:gdLst>
                <a:gd name="T0" fmla="*/ 2 w 13"/>
                <a:gd name="T1" fmla="*/ 21 h 22"/>
                <a:gd name="T2" fmla="*/ 2 w 13"/>
                <a:gd name="T3" fmla="*/ 21 h 22"/>
                <a:gd name="T4" fmla="*/ 6 w 13"/>
                <a:gd name="T5" fmla="*/ 20 h 22"/>
                <a:gd name="T6" fmla="*/ 12 w 13"/>
                <a:gd name="T7" fmla="*/ 3 h 22"/>
                <a:gd name="T8" fmla="*/ 11 w 13"/>
                <a:gd name="T9" fmla="*/ 0 h 22"/>
                <a:gd name="T10" fmla="*/ 8 w 13"/>
                <a:gd name="T11" fmla="*/ 2 h 22"/>
                <a:gd name="T12" fmla="*/ 1 w 13"/>
                <a:gd name="T13" fmla="*/ 18 h 22"/>
                <a:gd name="T14" fmla="*/ 2 w 13"/>
                <a:gd name="T15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2">
                  <a:moveTo>
                    <a:pt x="2" y="21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4" y="22"/>
                    <a:pt x="5" y="21"/>
                    <a:pt x="6" y="20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2"/>
                    <a:pt x="12" y="1"/>
                    <a:pt x="11" y="0"/>
                  </a:cubicBezTo>
                  <a:cubicBezTo>
                    <a:pt x="10" y="0"/>
                    <a:pt x="8" y="0"/>
                    <a:pt x="8" y="2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9"/>
                    <a:pt x="1" y="21"/>
                    <a:pt x="2" y="21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7" name="işľíḋé"/>
            <p:cNvSpPr/>
            <p:nvPr userDrawn="1"/>
          </p:nvSpPr>
          <p:spPr bwMode="auto">
            <a:xfrm>
              <a:off x="10555273" y="5892293"/>
              <a:ext cx="43504" cy="76131"/>
            </a:xfrm>
            <a:custGeom>
              <a:avLst/>
              <a:gdLst>
                <a:gd name="T0" fmla="*/ 2 w 12"/>
                <a:gd name="T1" fmla="*/ 22 h 22"/>
                <a:gd name="T2" fmla="*/ 2 w 12"/>
                <a:gd name="T3" fmla="*/ 22 h 22"/>
                <a:gd name="T4" fmla="*/ 5 w 12"/>
                <a:gd name="T5" fmla="*/ 20 h 22"/>
                <a:gd name="T6" fmla="*/ 12 w 12"/>
                <a:gd name="T7" fmla="*/ 4 h 22"/>
                <a:gd name="T8" fmla="*/ 10 w 12"/>
                <a:gd name="T9" fmla="*/ 0 h 22"/>
                <a:gd name="T10" fmla="*/ 7 w 12"/>
                <a:gd name="T11" fmla="*/ 2 h 22"/>
                <a:gd name="T12" fmla="*/ 0 w 12"/>
                <a:gd name="T13" fmla="*/ 19 h 22"/>
                <a:gd name="T14" fmla="*/ 2 w 1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2">
                  <a:moveTo>
                    <a:pt x="2" y="22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3" y="22"/>
                    <a:pt x="4" y="22"/>
                    <a:pt x="5" y="2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1" y="1"/>
                    <a:pt x="10" y="0"/>
                  </a:cubicBezTo>
                  <a:cubicBezTo>
                    <a:pt x="9" y="0"/>
                    <a:pt x="7" y="1"/>
                    <a:pt x="7" y="2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1"/>
                    <a:pt x="2" y="22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8" name="íṧḷiḍé"/>
            <p:cNvSpPr/>
            <p:nvPr userDrawn="1"/>
          </p:nvSpPr>
          <p:spPr bwMode="auto">
            <a:xfrm>
              <a:off x="10332314" y="5986551"/>
              <a:ext cx="494857" cy="45317"/>
            </a:xfrm>
            <a:custGeom>
              <a:avLst/>
              <a:gdLst>
                <a:gd name="T0" fmla="*/ 0 w 142"/>
                <a:gd name="T1" fmla="*/ 1 h 13"/>
                <a:gd name="T2" fmla="*/ 15 w 142"/>
                <a:gd name="T3" fmla="*/ 11 h 13"/>
                <a:gd name="T4" fmla="*/ 135 w 142"/>
                <a:gd name="T5" fmla="*/ 11 h 13"/>
                <a:gd name="T6" fmla="*/ 141 w 142"/>
                <a:gd name="T7" fmla="*/ 5 h 13"/>
                <a:gd name="T8" fmla="*/ 133 w 142"/>
                <a:gd name="T9" fmla="*/ 7 h 13"/>
                <a:gd name="T10" fmla="*/ 117 w 142"/>
                <a:gd name="T11" fmla="*/ 8 h 13"/>
                <a:gd name="T12" fmla="*/ 99 w 142"/>
                <a:gd name="T13" fmla="*/ 7 h 13"/>
                <a:gd name="T14" fmla="*/ 2 w 142"/>
                <a:gd name="T15" fmla="*/ 1 h 13"/>
                <a:gd name="T16" fmla="*/ 0 w 142"/>
                <a:gd name="T1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2" h="13">
                  <a:moveTo>
                    <a:pt x="0" y="1"/>
                  </a:moveTo>
                  <a:cubicBezTo>
                    <a:pt x="5" y="13"/>
                    <a:pt x="15" y="11"/>
                    <a:pt x="15" y="11"/>
                  </a:cubicBezTo>
                  <a:cubicBezTo>
                    <a:pt x="15" y="11"/>
                    <a:pt x="120" y="13"/>
                    <a:pt x="135" y="11"/>
                  </a:cubicBezTo>
                  <a:cubicBezTo>
                    <a:pt x="141" y="10"/>
                    <a:pt x="142" y="8"/>
                    <a:pt x="141" y="5"/>
                  </a:cubicBezTo>
                  <a:cubicBezTo>
                    <a:pt x="138" y="6"/>
                    <a:pt x="136" y="7"/>
                    <a:pt x="133" y="7"/>
                  </a:cubicBezTo>
                  <a:cubicBezTo>
                    <a:pt x="128" y="7"/>
                    <a:pt x="122" y="8"/>
                    <a:pt x="117" y="8"/>
                  </a:cubicBezTo>
                  <a:cubicBezTo>
                    <a:pt x="111" y="8"/>
                    <a:pt x="105" y="8"/>
                    <a:pt x="99" y="7"/>
                  </a:cubicBezTo>
                  <a:cubicBezTo>
                    <a:pt x="66" y="5"/>
                    <a:pt x="34" y="0"/>
                    <a:pt x="2" y="1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8E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9" name="ïS1íḋê"/>
            <p:cNvSpPr/>
            <p:nvPr userDrawn="1"/>
          </p:nvSpPr>
          <p:spPr bwMode="auto">
            <a:xfrm>
              <a:off x="9828393" y="4074187"/>
              <a:ext cx="393348" cy="1696655"/>
            </a:xfrm>
            <a:custGeom>
              <a:avLst/>
              <a:gdLst>
                <a:gd name="T0" fmla="*/ 26 w 113"/>
                <a:gd name="T1" fmla="*/ 3 h 487"/>
                <a:gd name="T2" fmla="*/ 0 w 113"/>
                <a:gd name="T3" fmla="*/ 487 h 487"/>
                <a:gd name="T4" fmla="*/ 65 w 113"/>
                <a:gd name="T5" fmla="*/ 487 h 487"/>
                <a:gd name="T6" fmla="*/ 109 w 113"/>
                <a:gd name="T7" fmla="*/ 0 h 487"/>
                <a:gd name="T8" fmla="*/ 26 w 113"/>
                <a:gd name="T9" fmla="*/ 3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487">
                  <a:moveTo>
                    <a:pt x="26" y="3"/>
                  </a:moveTo>
                  <a:cubicBezTo>
                    <a:pt x="0" y="487"/>
                    <a:pt x="0" y="487"/>
                    <a:pt x="0" y="487"/>
                  </a:cubicBezTo>
                  <a:cubicBezTo>
                    <a:pt x="65" y="487"/>
                    <a:pt x="65" y="487"/>
                    <a:pt x="65" y="487"/>
                  </a:cubicBezTo>
                  <a:cubicBezTo>
                    <a:pt x="65" y="487"/>
                    <a:pt x="113" y="120"/>
                    <a:pt x="109" y="0"/>
                  </a:cubicBezTo>
                  <a:cubicBezTo>
                    <a:pt x="26" y="3"/>
                    <a:pt x="26" y="3"/>
                    <a:pt x="26" y="3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0" name="ï$líḍe"/>
            <p:cNvSpPr/>
            <p:nvPr userDrawn="1"/>
          </p:nvSpPr>
          <p:spPr bwMode="auto">
            <a:xfrm>
              <a:off x="10176425" y="3911048"/>
              <a:ext cx="389722" cy="1852544"/>
            </a:xfrm>
            <a:custGeom>
              <a:avLst/>
              <a:gdLst>
                <a:gd name="T0" fmla="*/ 89 w 112"/>
                <a:gd name="T1" fmla="*/ 526 h 532"/>
                <a:gd name="T2" fmla="*/ 89 w 112"/>
                <a:gd name="T3" fmla="*/ 532 h 532"/>
                <a:gd name="T4" fmla="*/ 34 w 112"/>
                <a:gd name="T5" fmla="*/ 532 h 532"/>
                <a:gd name="T6" fmla="*/ 0 w 112"/>
                <a:gd name="T7" fmla="*/ 0 h 532"/>
                <a:gd name="T8" fmla="*/ 73 w 112"/>
                <a:gd name="T9" fmla="*/ 2 h 532"/>
                <a:gd name="T10" fmla="*/ 82 w 112"/>
                <a:gd name="T11" fmla="*/ 34 h 532"/>
                <a:gd name="T12" fmla="*/ 89 w 112"/>
                <a:gd name="T13" fmla="*/ 526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532">
                  <a:moveTo>
                    <a:pt x="89" y="526"/>
                  </a:moveTo>
                  <a:cubicBezTo>
                    <a:pt x="89" y="530"/>
                    <a:pt x="89" y="532"/>
                    <a:pt x="89" y="532"/>
                  </a:cubicBezTo>
                  <a:cubicBezTo>
                    <a:pt x="34" y="532"/>
                    <a:pt x="34" y="532"/>
                    <a:pt x="34" y="5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7" y="12"/>
                    <a:pt x="79" y="22"/>
                    <a:pt x="82" y="34"/>
                  </a:cubicBezTo>
                  <a:cubicBezTo>
                    <a:pt x="112" y="182"/>
                    <a:pt x="93" y="479"/>
                    <a:pt x="89" y="526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1" name="íŝļíďé"/>
            <p:cNvSpPr/>
            <p:nvPr userDrawn="1"/>
          </p:nvSpPr>
          <p:spPr bwMode="auto">
            <a:xfrm>
              <a:off x="10413885" y="4028872"/>
              <a:ext cx="152264" cy="1712970"/>
            </a:xfrm>
            <a:custGeom>
              <a:avLst/>
              <a:gdLst>
                <a:gd name="T0" fmla="*/ 21 w 44"/>
                <a:gd name="T1" fmla="*/ 492 h 492"/>
                <a:gd name="T2" fmla="*/ 9 w 44"/>
                <a:gd name="T3" fmla="*/ 475 h 492"/>
                <a:gd name="T4" fmla="*/ 5 w 44"/>
                <a:gd name="T5" fmla="*/ 426 h 492"/>
                <a:gd name="T6" fmla="*/ 10 w 44"/>
                <a:gd name="T7" fmla="*/ 313 h 492"/>
                <a:gd name="T8" fmla="*/ 16 w 44"/>
                <a:gd name="T9" fmla="*/ 188 h 492"/>
                <a:gd name="T10" fmla="*/ 18 w 44"/>
                <a:gd name="T11" fmla="*/ 121 h 492"/>
                <a:gd name="T12" fmla="*/ 12 w 44"/>
                <a:gd name="T13" fmla="*/ 62 h 492"/>
                <a:gd name="T14" fmla="*/ 1 w 44"/>
                <a:gd name="T15" fmla="*/ 18 h 492"/>
                <a:gd name="T16" fmla="*/ 14 w 44"/>
                <a:gd name="T17" fmla="*/ 0 h 492"/>
                <a:gd name="T18" fmla="*/ 21 w 44"/>
                <a:gd name="T19" fmla="*/ 492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92">
                  <a:moveTo>
                    <a:pt x="21" y="492"/>
                  </a:moveTo>
                  <a:cubicBezTo>
                    <a:pt x="16" y="487"/>
                    <a:pt x="12" y="481"/>
                    <a:pt x="9" y="475"/>
                  </a:cubicBezTo>
                  <a:cubicBezTo>
                    <a:pt x="3" y="460"/>
                    <a:pt x="4" y="443"/>
                    <a:pt x="5" y="426"/>
                  </a:cubicBezTo>
                  <a:cubicBezTo>
                    <a:pt x="6" y="389"/>
                    <a:pt x="8" y="351"/>
                    <a:pt x="10" y="313"/>
                  </a:cubicBezTo>
                  <a:cubicBezTo>
                    <a:pt x="12" y="271"/>
                    <a:pt x="14" y="230"/>
                    <a:pt x="16" y="188"/>
                  </a:cubicBezTo>
                  <a:cubicBezTo>
                    <a:pt x="18" y="166"/>
                    <a:pt x="19" y="144"/>
                    <a:pt x="18" y="121"/>
                  </a:cubicBezTo>
                  <a:cubicBezTo>
                    <a:pt x="18" y="102"/>
                    <a:pt x="16" y="82"/>
                    <a:pt x="12" y="62"/>
                  </a:cubicBezTo>
                  <a:cubicBezTo>
                    <a:pt x="9" y="48"/>
                    <a:pt x="1" y="33"/>
                    <a:pt x="1" y="18"/>
                  </a:cubicBezTo>
                  <a:cubicBezTo>
                    <a:pt x="0" y="7"/>
                    <a:pt x="6" y="2"/>
                    <a:pt x="14" y="0"/>
                  </a:cubicBezTo>
                  <a:cubicBezTo>
                    <a:pt x="44" y="148"/>
                    <a:pt x="25" y="445"/>
                    <a:pt x="21" y="492"/>
                  </a:cubicBez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2" name="ï$ļiḓe"/>
            <p:cNvSpPr/>
            <p:nvPr userDrawn="1"/>
          </p:nvSpPr>
          <p:spPr bwMode="auto">
            <a:xfrm>
              <a:off x="9893650" y="3064533"/>
              <a:ext cx="721441" cy="1134729"/>
            </a:xfrm>
            <a:custGeom>
              <a:avLst/>
              <a:gdLst>
                <a:gd name="T0" fmla="*/ 203 w 207"/>
                <a:gd name="T1" fmla="*/ 63 h 326"/>
                <a:gd name="T2" fmla="*/ 203 w 207"/>
                <a:gd name="T3" fmla="*/ 64 h 326"/>
                <a:gd name="T4" fmla="*/ 170 w 207"/>
                <a:gd name="T5" fmla="*/ 326 h 326"/>
                <a:gd name="T6" fmla="*/ 160 w 207"/>
                <a:gd name="T7" fmla="*/ 326 h 326"/>
                <a:gd name="T8" fmla="*/ 5 w 207"/>
                <a:gd name="T9" fmla="*/ 323 h 326"/>
                <a:gd name="T10" fmla="*/ 0 w 207"/>
                <a:gd name="T11" fmla="*/ 24 h 326"/>
                <a:gd name="T12" fmla="*/ 34 w 207"/>
                <a:gd name="T13" fmla="*/ 3 h 326"/>
                <a:gd name="T14" fmla="*/ 73 w 207"/>
                <a:gd name="T15" fmla="*/ 1 h 326"/>
                <a:gd name="T16" fmla="*/ 152 w 207"/>
                <a:gd name="T17" fmla="*/ 9 h 326"/>
                <a:gd name="T18" fmla="*/ 203 w 207"/>
                <a:gd name="T19" fmla="*/ 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326">
                  <a:moveTo>
                    <a:pt x="203" y="63"/>
                  </a:moveTo>
                  <a:cubicBezTo>
                    <a:pt x="203" y="64"/>
                    <a:pt x="203" y="64"/>
                    <a:pt x="203" y="64"/>
                  </a:cubicBezTo>
                  <a:cubicBezTo>
                    <a:pt x="170" y="326"/>
                    <a:pt x="170" y="326"/>
                    <a:pt x="170" y="326"/>
                  </a:cubicBezTo>
                  <a:cubicBezTo>
                    <a:pt x="160" y="326"/>
                    <a:pt x="160" y="326"/>
                    <a:pt x="160" y="326"/>
                  </a:cubicBezTo>
                  <a:cubicBezTo>
                    <a:pt x="5" y="323"/>
                    <a:pt x="5" y="323"/>
                    <a:pt x="5" y="323"/>
                  </a:cubicBezTo>
                  <a:cubicBezTo>
                    <a:pt x="5" y="323"/>
                    <a:pt x="1" y="52"/>
                    <a:pt x="0" y="24"/>
                  </a:cubicBezTo>
                  <a:cubicBezTo>
                    <a:pt x="0" y="11"/>
                    <a:pt x="17" y="5"/>
                    <a:pt x="34" y="3"/>
                  </a:cubicBezTo>
                  <a:cubicBezTo>
                    <a:pt x="53" y="0"/>
                    <a:pt x="73" y="1"/>
                    <a:pt x="73" y="1"/>
                  </a:cubicBezTo>
                  <a:cubicBezTo>
                    <a:pt x="107" y="0"/>
                    <a:pt x="133" y="3"/>
                    <a:pt x="152" y="9"/>
                  </a:cubicBezTo>
                  <a:cubicBezTo>
                    <a:pt x="207" y="26"/>
                    <a:pt x="203" y="63"/>
                    <a:pt x="203" y="63"/>
                  </a:cubicBezTo>
                </a:path>
              </a:pathLst>
            </a:custGeom>
            <a:solidFill>
              <a:srgbClr val="FFB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3" name="íṧ1íḓé"/>
            <p:cNvSpPr/>
            <p:nvPr userDrawn="1"/>
          </p:nvSpPr>
          <p:spPr bwMode="auto">
            <a:xfrm>
              <a:off x="9096076" y="2828886"/>
              <a:ext cx="302714" cy="420538"/>
            </a:xfrm>
            <a:custGeom>
              <a:avLst/>
              <a:gdLst>
                <a:gd name="T0" fmla="*/ 82 w 87"/>
                <a:gd name="T1" fmla="*/ 100 h 121"/>
                <a:gd name="T2" fmla="*/ 69 w 87"/>
                <a:gd name="T3" fmla="*/ 74 h 121"/>
                <a:gd name="T4" fmla="*/ 58 w 87"/>
                <a:gd name="T5" fmla="*/ 46 h 121"/>
                <a:gd name="T6" fmla="*/ 10 w 87"/>
                <a:gd name="T7" fmla="*/ 3 h 121"/>
                <a:gd name="T8" fmla="*/ 3 w 87"/>
                <a:gd name="T9" fmla="*/ 3 h 121"/>
                <a:gd name="T10" fmla="*/ 7 w 87"/>
                <a:gd name="T11" fmla="*/ 11 h 121"/>
                <a:gd name="T12" fmla="*/ 31 w 87"/>
                <a:gd name="T13" fmla="*/ 34 h 121"/>
                <a:gd name="T14" fmla="*/ 14 w 87"/>
                <a:gd name="T15" fmla="*/ 66 h 121"/>
                <a:gd name="T16" fmla="*/ 46 w 87"/>
                <a:gd name="T17" fmla="*/ 95 h 121"/>
                <a:gd name="T18" fmla="*/ 63 w 87"/>
                <a:gd name="T19" fmla="*/ 121 h 121"/>
                <a:gd name="T20" fmla="*/ 87 w 87"/>
                <a:gd name="T21" fmla="*/ 107 h 121"/>
                <a:gd name="T22" fmla="*/ 82 w 87"/>
                <a:gd name="T23" fmla="*/ 10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7" h="121">
                  <a:moveTo>
                    <a:pt x="82" y="100"/>
                  </a:move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73" y="68"/>
                    <a:pt x="58" y="46"/>
                  </a:cubicBezTo>
                  <a:cubicBezTo>
                    <a:pt x="43" y="24"/>
                    <a:pt x="10" y="3"/>
                    <a:pt x="10" y="3"/>
                  </a:cubicBezTo>
                  <a:cubicBezTo>
                    <a:pt x="10" y="3"/>
                    <a:pt x="7" y="0"/>
                    <a:pt x="3" y="3"/>
                  </a:cubicBezTo>
                  <a:cubicBezTo>
                    <a:pt x="0" y="6"/>
                    <a:pt x="7" y="11"/>
                    <a:pt x="7" y="11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1" y="34"/>
                    <a:pt x="3" y="51"/>
                    <a:pt x="14" y="66"/>
                  </a:cubicBezTo>
                  <a:cubicBezTo>
                    <a:pt x="25" y="81"/>
                    <a:pt x="38" y="91"/>
                    <a:pt x="46" y="95"/>
                  </a:cubicBezTo>
                  <a:cubicBezTo>
                    <a:pt x="55" y="99"/>
                    <a:pt x="63" y="121"/>
                    <a:pt x="63" y="121"/>
                  </a:cubicBezTo>
                  <a:cubicBezTo>
                    <a:pt x="87" y="107"/>
                    <a:pt x="87" y="107"/>
                    <a:pt x="87" y="107"/>
                  </a:cubicBezTo>
                  <a:lnTo>
                    <a:pt x="82" y="100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04" name="ïśḷîdé"/>
            <p:cNvSpPr/>
            <p:nvPr userDrawn="1"/>
          </p:nvSpPr>
          <p:spPr bwMode="auto">
            <a:xfrm>
              <a:off x="9282781" y="3075409"/>
              <a:ext cx="817512" cy="755882"/>
            </a:xfrm>
            <a:custGeom>
              <a:avLst/>
              <a:gdLst>
                <a:gd name="T0" fmla="*/ 214 w 234"/>
                <a:gd name="T1" fmla="*/ 5 h 217"/>
                <a:gd name="T2" fmla="*/ 192 w 234"/>
                <a:gd name="T3" fmla="*/ 3 h 217"/>
                <a:gd name="T4" fmla="*/ 155 w 234"/>
                <a:gd name="T5" fmla="*/ 31 h 217"/>
                <a:gd name="T6" fmla="*/ 103 w 234"/>
                <a:gd name="T7" fmla="*/ 134 h 217"/>
                <a:gd name="T8" fmla="*/ 71 w 234"/>
                <a:gd name="T9" fmla="*/ 98 h 217"/>
                <a:gd name="T10" fmla="*/ 27 w 234"/>
                <a:gd name="T11" fmla="*/ 21 h 217"/>
                <a:gd name="T12" fmla="*/ 0 w 234"/>
                <a:gd name="T13" fmla="*/ 36 h 217"/>
                <a:gd name="T14" fmla="*/ 66 w 234"/>
                <a:gd name="T15" fmla="*/ 161 h 217"/>
                <a:gd name="T16" fmla="*/ 135 w 234"/>
                <a:gd name="T17" fmla="*/ 166 h 217"/>
                <a:gd name="T18" fmla="*/ 213 w 234"/>
                <a:gd name="T19" fmla="*/ 49 h 217"/>
                <a:gd name="T20" fmla="*/ 214 w 234"/>
                <a:gd name="T21" fmla="*/ 5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4" h="217">
                  <a:moveTo>
                    <a:pt x="214" y="5"/>
                  </a:moveTo>
                  <a:cubicBezTo>
                    <a:pt x="208" y="1"/>
                    <a:pt x="199" y="0"/>
                    <a:pt x="192" y="3"/>
                  </a:cubicBezTo>
                  <a:cubicBezTo>
                    <a:pt x="182" y="7"/>
                    <a:pt x="167" y="16"/>
                    <a:pt x="155" y="31"/>
                  </a:cubicBezTo>
                  <a:cubicBezTo>
                    <a:pt x="135" y="56"/>
                    <a:pt x="103" y="134"/>
                    <a:pt x="103" y="134"/>
                  </a:cubicBezTo>
                  <a:cubicBezTo>
                    <a:pt x="103" y="134"/>
                    <a:pt x="83" y="120"/>
                    <a:pt x="71" y="98"/>
                  </a:cubicBezTo>
                  <a:cubicBezTo>
                    <a:pt x="56" y="73"/>
                    <a:pt x="27" y="21"/>
                    <a:pt x="27" y="2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66" y="161"/>
                    <a:pt x="66" y="161"/>
                    <a:pt x="66" y="161"/>
                  </a:cubicBezTo>
                  <a:cubicBezTo>
                    <a:pt x="66" y="161"/>
                    <a:pt x="92" y="217"/>
                    <a:pt x="135" y="166"/>
                  </a:cubicBezTo>
                  <a:cubicBezTo>
                    <a:pt x="179" y="114"/>
                    <a:pt x="213" y="49"/>
                    <a:pt x="213" y="49"/>
                  </a:cubicBezTo>
                  <a:cubicBezTo>
                    <a:pt x="213" y="49"/>
                    <a:pt x="234" y="19"/>
                    <a:pt x="214" y="5"/>
                  </a:cubicBezTo>
                  <a:close/>
                </a:path>
              </a:pathLst>
            </a:custGeom>
            <a:solidFill>
              <a:srgbClr val="FFB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5" name="iš1iḑé"/>
            <p:cNvSpPr/>
            <p:nvPr userDrawn="1"/>
          </p:nvSpPr>
          <p:spPr bwMode="auto">
            <a:xfrm>
              <a:off x="10011474" y="3064533"/>
              <a:ext cx="411475" cy="139576"/>
            </a:xfrm>
            <a:custGeom>
              <a:avLst/>
              <a:gdLst>
                <a:gd name="T0" fmla="*/ 118 w 118"/>
                <a:gd name="T1" fmla="*/ 9 h 40"/>
                <a:gd name="T2" fmla="*/ 117 w 118"/>
                <a:gd name="T3" fmla="*/ 9 h 40"/>
                <a:gd name="T4" fmla="*/ 19 w 118"/>
                <a:gd name="T5" fmla="*/ 21 h 40"/>
                <a:gd name="T6" fmla="*/ 0 w 118"/>
                <a:gd name="T7" fmla="*/ 3 h 40"/>
                <a:gd name="T8" fmla="*/ 39 w 118"/>
                <a:gd name="T9" fmla="*/ 1 h 40"/>
                <a:gd name="T10" fmla="*/ 118 w 118"/>
                <a:gd name="T11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40">
                  <a:moveTo>
                    <a:pt x="118" y="9"/>
                  </a:moveTo>
                  <a:cubicBezTo>
                    <a:pt x="117" y="9"/>
                    <a:pt x="117" y="9"/>
                    <a:pt x="117" y="9"/>
                  </a:cubicBezTo>
                  <a:cubicBezTo>
                    <a:pt x="92" y="34"/>
                    <a:pt x="49" y="40"/>
                    <a:pt x="19" y="21"/>
                  </a:cubicBezTo>
                  <a:cubicBezTo>
                    <a:pt x="13" y="18"/>
                    <a:pt x="5" y="11"/>
                    <a:pt x="0" y="3"/>
                  </a:cubicBezTo>
                  <a:cubicBezTo>
                    <a:pt x="19" y="0"/>
                    <a:pt x="39" y="1"/>
                    <a:pt x="39" y="1"/>
                  </a:cubicBezTo>
                  <a:cubicBezTo>
                    <a:pt x="73" y="0"/>
                    <a:pt x="99" y="3"/>
                    <a:pt x="118" y="9"/>
                  </a:cubicBez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06" name="ïŝļíďé"/>
            <p:cNvSpPr/>
            <p:nvPr userDrawn="1"/>
          </p:nvSpPr>
          <p:spPr bwMode="auto">
            <a:xfrm>
              <a:off x="9228401" y="3949114"/>
              <a:ext cx="2254956" cy="888206"/>
            </a:xfrm>
            <a:custGeom>
              <a:avLst/>
              <a:gdLst>
                <a:gd name="T0" fmla="*/ 1244 w 1244"/>
                <a:gd name="T1" fmla="*/ 402 h 490"/>
                <a:gd name="T2" fmla="*/ 1213 w 1244"/>
                <a:gd name="T3" fmla="*/ 490 h 490"/>
                <a:gd name="T4" fmla="*/ 88 w 1244"/>
                <a:gd name="T5" fmla="*/ 87 h 490"/>
                <a:gd name="T6" fmla="*/ 0 w 1244"/>
                <a:gd name="T7" fmla="*/ 6 h 490"/>
                <a:gd name="T8" fmla="*/ 119 w 1244"/>
                <a:gd name="T9" fmla="*/ 0 h 490"/>
                <a:gd name="T10" fmla="*/ 1244 w 1244"/>
                <a:gd name="T11" fmla="*/ 402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4" h="490">
                  <a:moveTo>
                    <a:pt x="1244" y="402"/>
                  </a:moveTo>
                  <a:lnTo>
                    <a:pt x="1213" y="490"/>
                  </a:lnTo>
                  <a:lnTo>
                    <a:pt x="88" y="87"/>
                  </a:lnTo>
                  <a:lnTo>
                    <a:pt x="0" y="6"/>
                  </a:lnTo>
                  <a:lnTo>
                    <a:pt x="119" y="0"/>
                  </a:lnTo>
                  <a:lnTo>
                    <a:pt x="1244" y="40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07" name="işḻiḋe"/>
            <p:cNvSpPr/>
            <p:nvPr userDrawn="1"/>
          </p:nvSpPr>
          <p:spPr bwMode="auto">
            <a:xfrm>
              <a:off x="9228401" y="3949114"/>
              <a:ext cx="2254956" cy="888206"/>
            </a:xfrm>
            <a:custGeom>
              <a:avLst/>
              <a:gdLst>
                <a:gd name="T0" fmla="*/ 1244 w 1244"/>
                <a:gd name="T1" fmla="*/ 402 h 490"/>
                <a:gd name="T2" fmla="*/ 1213 w 1244"/>
                <a:gd name="T3" fmla="*/ 490 h 490"/>
                <a:gd name="T4" fmla="*/ 88 w 1244"/>
                <a:gd name="T5" fmla="*/ 87 h 490"/>
                <a:gd name="T6" fmla="*/ 0 w 1244"/>
                <a:gd name="T7" fmla="*/ 6 h 490"/>
                <a:gd name="T8" fmla="*/ 119 w 1244"/>
                <a:gd name="T9" fmla="*/ 0 h 490"/>
                <a:gd name="T10" fmla="*/ 1244 w 1244"/>
                <a:gd name="T11" fmla="*/ 402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4" h="490">
                  <a:moveTo>
                    <a:pt x="1244" y="402"/>
                  </a:moveTo>
                  <a:lnTo>
                    <a:pt x="1213" y="490"/>
                  </a:lnTo>
                  <a:lnTo>
                    <a:pt x="88" y="87"/>
                  </a:lnTo>
                  <a:lnTo>
                    <a:pt x="0" y="6"/>
                  </a:lnTo>
                  <a:lnTo>
                    <a:pt x="119" y="0"/>
                  </a:lnTo>
                  <a:lnTo>
                    <a:pt x="1244" y="40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8" name="ïšľiďè"/>
            <p:cNvSpPr/>
            <p:nvPr userDrawn="1"/>
          </p:nvSpPr>
          <p:spPr bwMode="auto">
            <a:xfrm>
              <a:off x="9228401" y="3949114"/>
              <a:ext cx="222957" cy="157703"/>
            </a:xfrm>
            <a:custGeom>
              <a:avLst/>
              <a:gdLst>
                <a:gd name="T0" fmla="*/ 60 w 64"/>
                <a:gd name="T1" fmla="*/ 25 h 45"/>
                <a:gd name="T2" fmla="*/ 46 w 64"/>
                <a:gd name="T3" fmla="*/ 45 h 45"/>
                <a:gd name="T4" fmla="*/ 46 w 64"/>
                <a:gd name="T5" fmla="*/ 45 h 45"/>
                <a:gd name="T6" fmla="*/ 23 w 64"/>
                <a:gd name="T7" fmla="*/ 24 h 45"/>
                <a:gd name="T8" fmla="*/ 0 w 64"/>
                <a:gd name="T9" fmla="*/ 3 h 45"/>
                <a:gd name="T10" fmla="*/ 31 w 64"/>
                <a:gd name="T11" fmla="*/ 1 h 45"/>
                <a:gd name="T12" fmla="*/ 62 w 64"/>
                <a:gd name="T13" fmla="*/ 0 h 45"/>
                <a:gd name="T14" fmla="*/ 62 w 64"/>
                <a:gd name="T15" fmla="*/ 0 h 45"/>
                <a:gd name="T16" fmla="*/ 60 w 64"/>
                <a:gd name="T17" fmla="*/ 2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45">
                  <a:moveTo>
                    <a:pt x="60" y="25"/>
                  </a:moveTo>
                  <a:cubicBezTo>
                    <a:pt x="57" y="33"/>
                    <a:pt x="52" y="40"/>
                    <a:pt x="46" y="45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4" y="8"/>
                    <a:pt x="63" y="16"/>
                    <a:pt x="60" y="25"/>
                  </a:cubicBezTo>
                </a:path>
              </a:pathLst>
            </a:custGeom>
            <a:solidFill>
              <a:srgbClr val="FBC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09" name="ïṩľîḑe"/>
            <p:cNvSpPr/>
            <p:nvPr userDrawn="1"/>
          </p:nvSpPr>
          <p:spPr bwMode="auto">
            <a:xfrm>
              <a:off x="9228401" y="3952739"/>
              <a:ext cx="110572" cy="79758"/>
            </a:xfrm>
            <a:custGeom>
              <a:avLst/>
              <a:gdLst>
                <a:gd name="T0" fmla="*/ 30 w 32"/>
                <a:gd name="T1" fmla="*/ 13 h 23"/>
                <a:gd name="T2" fmla="*/ 23 w 32"/>
                <a:gd name="T3" fmla="*/ 23 h 23"/>
                <a:gd name="T4" fmla="*/ 0 w 32"/>
                <a:gd name="T5" fmla="*/ 2 h 23"/>
                <a:gd name="T6" fmla="*/ 31 w 32"/>
                <a:gd name="T7" fmla="*/ 0 h 23"/>
                <a:gd name="T8" fmla="*/ 30 w 32"/>
                <a:gd name="T9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3">
                  <a:moveTo>
                    <a:pt x="30" y="13"/>
                  </a:moveTo>
                  <a:cubicBezTo>
                    <a:pt x="29" y="17"/>
                    <a:pt x="26" y="21"/>
                    <a:pt x="23" y="2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5"/>
                    <a:pt x="32" y="9"/>
                    <a:pt x="30" y="13"/>
                  </a:cubicBezTo>
                </a:path>
              </a:pathLst>
            </a:custGeom>
            <a:solidFill>
              <a:srgbClr val="FC6D5D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10" name="íşļïḋê"/>
            <p:cNvSpPr/>
            <p:nvPr userDrawn="1"/>
          </p:nvSpPr>
          <p:spPr bwMode="auto">
            <a:xfrm>
              <a:off x="11323843" y="4637928"/>
              <a:ext cx="212082" cy="213894"/>
            </a:xfrm>
            <a:custGeom>
              <a:avLst/>
              <a:gdLst>
                <a:gd name="T0" fmla="*/ 36 w 61"/>
                <a:gd name="T1" fmla="*/ 59 h 61"/>
                <a:gd name="T2" fmla="*/ 0 w 61"/>
                <a:gd name="T3" fmla="*/ 46 h 61"/>
                <a:gd name="T4" fmla="*/ 17 w 61"/>
                <a:gd name="T5" fmla="*/ 0 h 61"/>
                <a:gd name="T6" fmla="*/ 52 w 61"/>
                <a:gd name="T7" fmla="*/ 13 h 61"/>
                <a:gd name="T8" fmla="*/ 59 w 61"/>
                <a:gd name="T9" fmla="*/ 27 h 61"/>
                <a:gd name="T10" fmla="*/ 50 w 61"/>
                <a:gd name="T11" fmla="*/ 52 h 61"/>
                <a:gd name="T12" fmla="*/ 36 w 61"/>
                <a:gd name="T13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61">
                  <a:moveTo>
                    <a:pt x="36" y="59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8" y="15"/>
                    <a:pt x="61" y="21"/>
                    <a:pt x="59" y="27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48" y="58"/>
                    <a:pt x="42" y="61"/>
                    <a:pt x="36" y="5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11" name="îŝḷide"/>
            <p:cNvSpPr/>
            <p:nvPr userDrawn="1"/>
          </p:nvSpPr>
          <p:spPr bwMode="auto">
            <a:xfrm>
              <a:off x="11291216" y="4628863"/>
              <a:ext cx="90634" cy="170390"/>
            </a:xfrm>
            <a:custGeom>
              <a:avLst/>
              <a:gdLst>
                <a:gd name="T0" fmla="*/ 18 w 50"/>
                <a:gd name="T1" fmla="*/ 94 h 94"/>
                <a:gd name="T2" fmla="*/ 0 w 50"/>
                <a:gd name="T3" fmla="*/ 88 h 94"/>
                <a:gd name="T4" fmla="*/ 33 w 50"/>
                <a:gd name="T5" fmla="*/ 0 h 94"/>
                <a:gd name="T6" fmla="*/ 50 w 50"/>
                <a:gd name="T7" fmla="*/ 5 h 94"/>
                <a:gd name="T8" fmla="*/ 18 w 50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94">
                  <a:moveTo>
                    <a:pt x="18" y="94"/>
                  </a:moveTo>
                  <a:lnTo>
                    <a:pt x="0" y="88"/>
                  </a:lnTo>
                  <a:lnTo>
                    <a:pt x="33" y="0"/>
                  </a:lnTo>
                  <a:lnTo>
                    <a:pt x="50" y="5"/>
                  </a:lnTo>
                  <a:lnTo>
                    <a:pt x="18" y="94"/>
                  </a:lnTo>
                  <a:close/>
                </a:path>
              </a:pathLst>
            </a:custGeom>
            <a:solidFill>
              <a:srgbClr val="FFE3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2" name="î$ḻíḍê"/>
            <p:cNvSpPr/>
            <p:nvPr userDrawn="1"/>
          </p:nvSpPr>
          <p:spPr bwMode="auto">
            <a:xfrm>
              <a:off x="11291216" y="4628863"/>
              <a:ext cx="90634" cy="170390"/>
            </a:xfrm>
            <a:custGeom>
              <a:avLst/>
              <a:gdLst>
                <a:gd name="T0" fmla="*/ 18 w 50"/>
                <a:gd name="T1" fmla="*/ 94 h 94"/>
                <a:gd name="T2" fmla="*/ 0 w 50"/>
                <a:gd name="T3" fmla="*/ 88 h 94"/>
                <a:gd name="T4" fmla="*/ 33 w 50"/>
                <a:gd name="T5" fmla="*/ 0 h 94"/>
                <a:gd name="T6" fmla="*/ 50 w 50"/>
                <a:gd name="T7" fmla="*/ 5 h 94"/>
                <a:gd name="T8" fmla="*/ 18 w 50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94">
                  <a:moveTo>
                    <a:pt x="18" y="94"/>
                  </a:moveTo>
                  <a:lnTo>
                    <a:pt x="0" y="88"/>
                  </a:lnTo>
                  <a:lnTo>
                    <a:pt x="33" y="0"/>
                  </a:lnTo>
                  <a:lnTo>
                    <a:pt x="50" y="5"/>
                  </a:lnTo>
                  <a:lnTo>
                    <a:pt x="18" y="9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3" name="îṣ1îḑe"/>
            <p:cNvSpPr/>
            <p:nvPr userDrawn="1"/>
          </p:nvSpPr>
          <p:spPr bwMode="auto">
            <a:xfrm>
              <a:off x="9908151" y="4112255"/>
              <a:ext cx="3625" cy="1814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4" name="íSḻîḋe"/>
            <p:cNvSpPr/>
            <p:nvPr userDrawn="1"/>
          </p:nvSpPr>
          <p:spPr bwMode="auto">
            <a:xfrm>
              <a:off x="9726884" y="4046998"/>
              <a:ext cx="181267" cy="65256"/>
            </a:xfrm>
            <a:custGeom>
              <a:avLst/>
              <a:gdLst>
                <a:gd name="T0" fmla="*/ 0 w 100"/>
                <a:gd name="T1" fmla="*/ 0 h 36"/>
                <a:gd name="T2" fmla="*/ 0 w 100"/>
                <a:gd name="T3" fmla="*/ 2 h 36"/>
                <a:gd name="T4" fmla="*/ 100 w 100"/>
                <a:gd name="T5" fmla="*/ 36 h 36"/>
                <a:gd name="T6" fmla="*/ 100 w 100"/>
                <a:gd name="T7" fmla="*/ 36 h 36"/>
                <a:gd name="T8" fmla="*/ 0 w 10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36">
                  <a:moveTo>
                    <a:pt x="0" y="0"/>
                  </a:moveTo>
                  <a:lnTo>
                    <a:pt x="0" y="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4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5" name="i$1íďê"/>
            <p:cNvSpPr/>
            <p:nvPr userDrawn="1"/>
          </p:nvSpPr>
          <p:spPr bwMode="auto">
            <a:xfrm>
              <a:off x="9726884" y="4046998"/>
              <a:ext cx="181267" cy="65256"/>
            </a:xfrm>
            <a:custGeom>
              <a:avLst/>
              <a:gdLst>
                <a:gd name="T0" fmla="*/ 0 w 100"/>
                <a:gd name="T1" fmla="*/ 0 h 36"/>
                <a:gd name="T2" fmla="*/ 0 w 100"/>
                <a:gd name="T3" fmla="*/ 2 h 36"/>
                <a:gd name="T4" fmla="*/ 100 w 100"/>
                <a:gd name="T5" fmla="*/ 36 h 36"/>
                <a:gd name="T6" fmla="*/ 100 w 100"/>
                <a:gd name="T7" fmla="*/ 36 h 36"/>
                <a:gd name="T8" fmla="*/ 0 w 10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36">
                  <a:moveTo>
                    <a:pt x="0" y="0"/>
                  </a:moveTo>
                  <a:lnTo>
                    <a:pt x="0" y="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6" name="isḷiḑè"/>
            <p:cNvSpPr/>
            <p:nvPr userDrawn="1"/>
          </p:nvSpPr>
          <p:spPr bwMode="auto">
            <a:xfrm>
              <a:off x="9228401" y="3945489"/>
              <a:ext cx="498482" cy="105135"/>
            </a:xfrm>
            <a:custGeom>
              <a:avLst/>
              <a:gdLst>
                <a:gd name="T0" fmla="*/ 62 w 143"/>
                <a:gd name="T1" fmla="*/ 0 h 30"/>
                <a:gd name="T2" fmla="*/ 0 w 143"/>
                <a:gd name="T3" fmla="*/ 4 h 30"/>
                <a:gd name="T4" fmla="*/ 0 w 143"/>
                <a:gd name="T5" fmla="*/ 4 h 30"/>
                <a:gd name="T6" fmla="*/ 1 w 143"/>
                <a:gd name="T7" fmla="*/ 4 h 30"/>
                <a:gd name="T8" fmla="*/ 62 w 143"/>
                <a:gd name="T9" fmla="*/ 1 h 30"/>
                <a:gd name="T10" fmla="*/ 62 w 143"/>
                <a:gd name="T11" fmla="*/ 1 h 30"/>
                <a:gd name="T12" fmla="*/ 62 w 143"/>
                <a:gd name="T13" fmla="*/ 1 h 30"/>
                <a:gd name="T14" fmla="*/ 143 w 143"/>
                <a:gd name="T15" fmla="*/ 30 h 30"/>
                <a:gd name="T16" fmla="*/ 143 w 143"/>
                <a:gd name="T17" fmla="*/ 29 h 30"/>
                <a:gd name="T18" fmla="*/ 62 w 143"/>
                <a:gd name="T19" fmla="*/ 0 h 30"/>
                <a:gd name="T20" fmla="*/ 62 w 143"/>
                <a:gd name="T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30">
                  <a:moveTo>
                    <a:pt x="62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29"/>
                    <a:pt x="143" y="29"/>
                    <a:pt x="143" y="29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</a:path>
              </a:pathLst>
            </a:custGeom>
            <a:solidFill>
              <a:srgbClr val="E1E2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7" name="íşḷíḍé"/>
            <p:cNvSpPr/>
            <p:nvPr userDrawn="1"/>
          </p:nvSpPr>
          <p:spPr bwMode="auto">
            <a:xfrm>
              <a:off x="10500893" y="4326149"/>
              <a:ext cx="1013279" cy="364347"/>
            </a:xfrm>
            <a:custGeom>
              <a:avLst/>
              <a:gdLst>
                <a:gd name="T0" fmla="*/ 0 w 291"/>
                <a:gd name="T1" fmla="*/ 0 h 105"/>
                <a:gd name="T2" fmla="*/ 0 w 291"/>
                <a:gd name="T3" fmla="*/ 0 h 105"/>
                <a:gd name="T4" fmla="*/ 282 w 291"/>
                <a:gd name="T5" fmla="*/ 101 h 105"/>
                <a:gd name="T6" fmla="*/ 288 w 291"/>
                <a:gd name="T7" fmla="*/ 103 h 105"/>
                <a:gd name="T8" fmla="*/ 291 w 291"/>
                <a:gd name="T9" fmla="*/ 105 h 105"/>
                <a:gd name="T10" fmla="*/ 288 w 291"/>
                <a:gd name="T11" fmla="*/ 102 h 105"/>
                <a:gd name="T12" fmla="*/ 282 w 291"/>
                <a:gd name="T13" fmla="*/ 101 h 105"/>
                <a:gd name="T14" fmla="*/ 253 w 291"/>
                <a:gd name="T15" fmla="*/ 90 h 105"/>
                <a:gd name="T16" fmla="*/ 244 w 291"/>
                <a:gd name="T17" fmla="*/ 87 h 105"/>
                <a:gd name="T18" fmla="*/ 0 w 291"/>
                <a:gd name="T19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1" h="10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82" y="101"/>
                    <a:pt x="282" y="101"/>
                    <a:pt x="282" y="101"/>
                  </a:cubicBezTo>
                  <a:cubicBezTo>
                    <a:pt x="288" y="103"/>
                    <a:pt x="288" y="103"/>
                    <a:pt x="288" y="103"/>
                  </a:cubicBezTo>
                  <a:cubicBezTo>
                    <a:pt x="289" y="103"/>
                    <a:pt x="290" y="104"/>
                    <a:pt x="291" y="105"/>
                  </a:cubicBezTo>
                  <a:cubicBezTo>
                    <a:pt x="290" y="104"/>
                    <a:pt x="289" y="103"/>
                    <a:pt x="288" y="102"/>
                  </a:cubicBezTo>
                  <a:cubicBezTo>
                    <a:pt x="282" y="101"/>
                    <a:pt x="282" y="101"/>
                    <a:pt x="282" y="101"/>
                  </a:cubicBezTo>
                  <a:cubicBezTo>
                    <a:pt x="253" y="90"/>
                    <a:pt x="253" y="90"/>
                    <a:pt x="253" y="90"/>
                  </a:cubicBezTo>
                  <a:cubicBezTo>
                    <a:pt x="244" y="87"/>
                    <a:pt x="244" y="87"/>
                    <a:pt x="244" y="8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8" name="îṩ1îdê"/>
            <p:cNvSpPr/>
            <p:nvPr userDrawn="1"/>
          </p:nvSpPr>
          <p:spPr bwMode="auto">
            <a:xfrm>
              <a:off x="10131109" y="4193824"/>
              <a:ext cx="65256" cy="23565"/>
            </a:xfrm>
            <a:custGeom>
              <a:avLst/>
              <a:gdLst>
                <a:gd name="T0" fmla="*/ 0 w 36"/>
                <a:gd name="T1" fmla="*/ 0 h 13"/>
                <a:gd name="T2" fmla="*/ 36 w 36"/>
                <a:gd name="T3" fmla="*/ 13 h 13"/>
                <a:gd name="T4" fmla="*/ 36 w 36"/>
                <a:gd name="T5" fmla="*/ 11 h 13"/>
                <a:gd name="T6" fmla="*/ 2 w 36"/>
                <a:gd name="T7" fmla="*/ 0 h 13"/>
                <a:gd name="T8" fmla="*/ 0 w 3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3">
                  <a:moveTo>
                    <a:pt x="0" y="0"/>
                  </a:moveTo>
                  <a:lnTo>
                    <a:pt x="36" y="13"/>
                  </a:lnTo>
                  <a:lnTo>
                    <a:pt x="36" y="11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39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19" name="iṧľíḍe"/>
            <p:cNvSpPr/>
            <p:nvPr userDrawn="1"/>
          </p:nvSpPr>
          <p:spPr bwMode="auto">
            <a:xfrm>
              <a:off x="10131109" y="4193824"/>
              <a:ext cx="65256" cy="23565"/>
            </a:xfrm>
            <a:custGeom>
              <a:avLst/>
              <a:gdLst>
                <a:gd name="T0" fmla="*/ 0 w 36"/>
                <a:gd name="T1" fmla="*/ 0 h 13"/>
                <a:gd name="T2" fmla="*/ 36 w 36"/>
                <a:gd name="T3" fmla="*/ 13 h 13"/>
                <a:gd name="T4" fmla="*/ 36 w 36"/>
                <a:gd name="T5" fmla="*/ 11 h 13"/>
                <a:gd name="T6" fmla="*/ 2 w 36"/>
                <a:gd name="T7" fmla="*/ 0 h 13"/>
                <a:gd name="T8" fmla="*/ 0 w 3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3">
                  <a:moveTo>
                    <a:pt x="0" y="0"/>
                  </a:moveTo>
                  <a:lnTo>
                    <a:pt x="36" y="13"/>
                  </a:lnTo>
                  <a:lnTo>
                    <a:pt x="36" y="11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0" name="išľîďê"/>
            <p:cNvSpPr/>
            <p:nvPr userDrawn="1"/>
          </p:nvSpPr>
          <p:spPr bwMode="auto">
            <a:xfrm>
              <a:off x="10196365" y="4213764"/>
              <a:ext cx="268274" cy="97884"/>
            </a:xfrm>
            <a:custGeom>
              <a:avLst/>
              <a:gdLst>
                <a:gd name="T0" fmla="*/ 0 w 77"/>
                <a:gd name="T1" fmla="*/ 0 h 28"/>
                <a:gd name="T2" fmla="*/ 0 w 77"/>
                <a:gd name="T3" fmla="*/ 1 h 28"/>
                <a:gd name="T4" fmla="*/ 77 w 77"/>
                <a:gd name="T5" fmla="*/ 28 h 28"/>
                <a:gd name="T6" fmla="*/ 77 w 77"/>
                <a:gd name="T7" fmla="*/ 28 h 28"/>
                <a:gd name="T8" fmla="*/ 0 w 77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28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F39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1" name="ïśľïḍe"/>
            <p:cNvSpPr/>
            <p:nvPr userDrawn="1"/>
          </p:nvSpPr>
          <p:spPr bwMode="auto">
            <a:xfrm>
              <a:off x="10464639" y="4311647"/>
              <a:ext cx="36254" cy="14501"/>
            </a:xfrm>
            <a:custGeom>
              <a:avLst/>
              <a:gdLst>
                <a:gd name="T0" fmla="*/ 0 w 10"/>
                <a:gd name="T1" fmla="*/ 0 h 4"/>
                <a:gd name="T2" fmla="*/ 0 w 10"/>
                <a:gd name="T3" fmla="*/ 0 h 4"/>
                <a:gd name="T4" fmla="*/ 10 w 10"/>
                <a:gd name="T5" fmla="*/ 4 h 4"/>
                <a:gd name="T6" fmla="*/ 10 w 10"/>
                <a:gd name="T7" fmla="*/ 4 h 4"/>
                <a:gd name="T8" fmla="*/ 0 w 10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632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2" name="ïṣḻîḋé"/>
            <p:cNvSpPr/>
            <p:nvPr userDrawn="1"/>
          </p:nvSpPr>
          <p:spPr bwMode="auto">
            <a:xfrm>
              <a:off x="9911776" y="4112255"/>
              <a:ext cx="222957" cy="81570"/>
            </a:xfrm>
            <a:custGeom>
              <a:avLst/>
              <a:gdLst>
                <a:gd name="T0" fmla="*/ 0 w 64"/>
                <a:gd name="T1" fmla="*/ 0 h 23"/>
                <a:gd name="T2" fmla="*/ 0 w 64"/>
                <a:gd name="T3" fmla="*/ 0 h 23"/>
                <a:gd name="T4" fmla="*/ 63 w 64"/>
                <a:gd name="T5" fmla="*/ 23 h 23"/>
                <a:gd name="T6" fmla="*/ 64 w 64"/>
                <a:gd name="T7" fmla="*/ 23 h 23"/>
                <a:gd name="T8" fmla="*/ 0 w 64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2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A8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5" name="íŝļîďê"/>
            <p:cNvSpPr/>
            <p:nvPr userDrawn="1"/>
          </p:nvSpPr>
          <p:spPr bwMode="auto">
            <a:xfrm>
              <a:off x="11514174" y="4735812"/>
              <a:ext cx="14501" cy="38066"/>
            </a:xfrm>
            <a:custGeom>
              <a:avLst/>
              <a:gdLst>
                <a:gd name="T0" fmla="*/ 4 w 4"/>
                <a:gd name="T1" fmla="*/ 0 h 11"/>
                <a:gd name="T2" fmla="*/ 0 w 4"/>
                <a:gd name="T3" fmla="*/ 11 h 11"/>
                <a:gd name="T4" fmla="*/ 0 w 4"/>
                <a:gd name="T5" fmla="*/ 11 h 11"/>
                <a:gd name="T6" fmla="*/ 4 w 4"/>
                <a:gd name="T7" fmla="*/ 0 h 11"/>
                <a:gd name="T8" fmla="*/ 4 w 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1">
                  <a:moveTo>
                    <a:pt x="4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29" name="íṧḷîḓé"/>
            <p:cNvSpPr/>
            <p:nvPr userDrawn="1"/>
          </p:nvSpPr>
          <p:spPr bwMode="auto">
            <a:xfrm>
              <a:off x="11323843" y="4628863"/>
              <a:ext cx="58005" cy="90634"/>
            </a:xfrm>
            <a:custGeom>
              <a:avLst/>
              <a:gdLst>
                <a:gd name="T0" fmla="*/ 15 w 32"/>
                <a:gd name="T1" fmla="*/ 0 h 50"/>
                <a:gd name="T2" fmla="*/ 0 w 32"/>
                <a:gd name="T3" fmla="*/ 44 h 50"/>
                <a:gd name="T4" fmla="*/ 17 w 32"/>
                <a:gd name="T5" fmla="*/ 50 h 50"/>
                <a:gd name="T6" fmla="*/ 32 w 32"/>
                <a:gd name="T7" fmla="*/ 5 h 50"/>
                <a:gd name="T8" fmla="*/ 15 w 32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50">
                  <a:moveTo>
                    <a:pt x="15" y="0"/>
                  </a:moveTo>
                  <a:lnTo>
                    <a:pt x="0" y="44"/>
                  </a:lnTo>
                  <a:lnTo>
                    <a:pt x="17" y="50"/>
                  </a:lnTo>
                  <a:lnTo>
                    <a:pt x="32" y="5"/>
                  </a:lnTo>
                  <a:lnTo>
                    <a:pt x="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0" name="ïṣḻíḑé"/>
            <p:cNvSpPr/>
            <p:nvPr userDrawn="1"/>
          </p:nvSpPr>
          <p:spPr bwMode="auto">
            <a:xfrm>
              <a:off x="10433824" y="3287491"/>
              <a:ext cx="166765" cy="911771"/>
            </a:xfrm>
            <a:custGeom>
              <a:avLst/>
              <a:gdLst>
                <a:gd name="T0" fmla="*/ 48 w 48"/>
                <a:gd name="T1" fmla="*/ 0 h 262"/>
                <a:gd name="T2" fmla="*/ 7 w 48"/>
                <a:gd name="T3" fmla="*/ 54 h 262"/>
                <a:gd name="T4" fmla="*/ 6 w 48"/>
                <a:gd name="T5" fmla="*/ 113 h 262"/>
                <a:gd name="T6" fmla="*/ 0 w 48"/>
                <a:gd name="T7" fmla="*/ 232 h 262"/>
                <a:gd name="T8" fmla="*/ 3 w 48"/>
                <a:gd name="T9" fmla="*/ 259 h 262"/>
                <a:gd name="T10" fmla="*/ 5 w 48"/>
                <a:gd name="T11" fmla="*/ 262 h 262"/>
                <a:gd name="T12" fmla="*/ 15 w 48"/>
                <a:gd name="T13" fmla="*/ 262 h 262"/>
                <a:gd name="T14" fmla="*/ 48 w 48"/>
                <a:gd name="T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262">
                  <a:moveTo>
                    <a:pt x="48" y="0"/>
                  </a:moveTo>
                  <a:cubicBezTo>
                    <a:pt x="23" y="2"/>
                    <a:pt x="11" y="33"/>
                    <a:pt x="7" y="54"/>
                  </a:cubicBezTo>
                  <a:cubicBezTo>
                    <a:pt x="4" y="74"/>
                    <a:pt x="6" y="94"/>
                    <a:pt x="6" y="113"/>
                  </a:cubicBezTo>
                  <a:cubicBezTo>
                    <a:pt x="6" y="153"/>
                    <a:pt x="2" y="193"/>
                    <a:pt x="0" y="232"/>
                  </a:cubicBezTo>
                  <a:cubicBezTo>
                    <a:pt x="0" y="241"/>
                    <a:pt x="0" y="251"/>
                    <a:pt x="3" y="259"/>
                  </a:cubicBezTo>
                  <a:cubicBezTo>
                    <a:pt x="4" y="260"/>
                    <a:pt x="4" y="261"/>
                    <a:pt x="5" y="262"/>
                  </a:cubicBezTo>
                  <a:cubicBezTo>
                    <a:pt x="15" y="262"/>
                    <a:pt x="15" y="262"/>
                    <a:pt x="15" y="262"/>
                  </a:cubicBezTo>
                  <a:cubicBezTo>
                    <a:pt x="48" y="0"/>
                    <a:pt x="48" y="0"/>
                    <a:pt x="48" y="0"/>
                  </a:cubicBezTo>
                </a:path>
              </a:pathLst>
            </a:custGeom>
            <a:solidFill>
              <a:srgbClr val="F6B0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31" name="îśļiḑè"/>
            <p:cNvSpPr/>
            <p:nvPr userDrawn="1"/>
          </p:nvSpPr>
          <p:spPr bwMode="auto">
            <a:xfrm>
              <a:off x="10508144" y="4318899"/>
              <a:ext cx="219332" cy="284589"/>
            </a:xfrm>
            <a:custGeom>
              <a:avLst/>
              <a:gdLst>
                <a:gd name="T0" fmla="*/ 11 w 63"/>
                <a:gd name="T1" fmla="*/ 36 h 82"/>
                <a:gd name="T2" fmla="*/ 4 w 63"/>
                <a:gd name="T3" fmla="*/ 38 h 82"/>
                <a:gd name="T4" fmla="*/ 1 w 63"/>
                <a:gd name="T5" fmla="*/ 44 h 82"/>
                <a:gd name="T6" fmla="*/ 6 w 63"/>
                <a:gd name="T7" fmla="*/ 47 h 82"/>
                <a:gd name="T8" fmla="*/ 25 w 63"/>
                <a:gd name="T9" fmla="*/ 42 h 82"/>
                <a:gd name="T10" fmla="*/ 21 w 63"/>
                <a:gd name="T11" fmla="*/ 52 h 82"/>
                <a:gd name="T12" fmla="*/ 12 w 63"/>
                <a:gd name="T13" fmla="*/ 59 h 82"/>
                <a:gd name="T14" fmla="*/ 14 w 63"/>
                <a:gd name="T15" fmla="*/ 68 h 82"/>
                <a:gd name="T16" fmla="*/ 22 w 63"/>
                <a:gd name="T17" fmla="*/ 69 h 82"/>
                <a:gd name="T18" fmla="*/ 23 w 63"/>
                <a:gd name="T19" fmla="*/ 75 h 82"/>
                <a:gd name="T20" fmla="*/ 30 w 63"/>
                <a:gd name="T21" fmla="*/ 75 h 82"/>
                <a:gd name="T22" fmla="*/ 33 w 63"/>
                <a:gd name="T23" fmla="*/ 81 h 82"/>
                <a:gd name="T24" fmla="*/ 39 w 63"/>
                <a:gd name="T25" fmla="*/ 79 h 82"/>
                <a:gd name="T26" fmla="*/ 51 w 63"/>
                <a:gd name="T27" fmla="*/ 79 h 82"/>
                <a:gd name="T28" fmla="*/ 62 w 63"/>
                <a:gd name="T29" fmla="*/ 61 h 82"/>
                <a:gd name="T30" fmla="*/ 62 w 63"/>
                <a:gd name="T31" fmla="*/ 40 h 82"/>
                <a:gd name="T32" fmla="*/ 58 w 63"/>
                <a:gd name="T33" fmla="*/ 6 h 82"/>
                <a:gd name="T34" fmla="*/ 58 w 63"/>
                <a:gd name="T35" fmla="*/ 4 h 82"/>
                <a:gd name="T36" fmla="*/ 55 w 63"/>
                <a:gd name="T37" fmla="*/ 3 h 82"/>
                <a:gd name="T38" fmla="*/ 35 w 63"/>
                <a:gd name="T39" fmla="*/ 3 h 82"/>
                <a:gd name="T40" fmla="*/ 32 w 63"/>
                <a:gd name="T41" fmla="*/ 17 h 82"/>
                <a:gd name="T42" fmla="*/ 11 w 63"/>
                <a:gd name="T43" fmla="*/ 3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" h="82">
                  <a:moveTo>
                    <a:pt x="11" y="36"/>
                  </a:moveTo>
                  <a:cubicBezTo>
                    <a:pt x="8" y="37"/>
                    <a:pt x="6" y="37"/>
                    <a:pt x="4" y="38"/>
                  </a:cubicBezTo>
                  <a:cubicBezTo>
                    <a:pt x="1" y="39"/>
                    <a:pt x="0" y="42"/>
                    <a:pt x="1" y="44"/>
                  </a:cubicBezTo>
                  <a:cubicBezTo>
                    <a:pt x="2" y="46"/>
                    <a:pt x="4" y="47"/>
                    <a:pt x="6" y="47"/>
                  </a:cubicBezTo>
                  <a:cubicBezTo>
                    <a:pt x="13" y="48"/>
                    <a:pt x="20" y="46"/>
                    <a:pt x="25" y="42"/>
                  </a:cubicBezTo>
                  <a:cubicBezTo>
                    <a:pt x="28" y="45"/>
                    <a:pt x="25" y="49"/>
                    <a:pt x="21" y="52"/>
                  </a:cubicBezTo>
                  <a:cubicBezTo>
                    <a:pt x="18" y="54"/>
                    <a:pt x="14" y="56"/>
                    <a:pt x="12" y="59"/>
                  </a:cubicBezTo>
                  <a:cubicBezTo>
                    <a:pt x="11" y="62"/>
                    <a:pt x="11" y="65"/>
                    <a:pt x="14" y="68"/>
                  </a:cubicBezTo>
                  <a:cubicBezTo>
                    <a:pt x="16" y="70"/>
                    <a:pt x="19" y="71"/>
                    <a:pt x="22" y="69"/>
                  </a:cubicBezTo>
                  <a:cubicBezTo>
                    <a:pt x="20" y="71"/>
                    <a:pt x="21" y="74"/>
                    <a:pt x="23" y="75"/>
                  </a:cubicBezTo>
                  <a:cubicBezTo>
                    <a:pt x="25" y="76"/>
                    <a:pt x="28" y="76"/>
                    <a:pt x="30" y="75"/>
                  </a:cubicBezTo>
                  <a:cubicBezTo>
                    <a:pt x="30" y="77"/>
                    <a:pt x="31" y="80"/>
                    <a:pt x="33" y="81"/>
                  </a:cubicBezTo>
                  <a:cubicBezTo>
                    <a:pt x="35" y="81"/>
                    <a:pt x="38" y="81"/>
                    <a:pt x="39" y="79"/>
                  </a:cubicBezTo>
                  <a:cubicBezTo>
                    <a:pt x="42" y="82"/>
                    <a:pt x="48" y="81"/>
                    <a:pt x="51" y="79"/>
                  </a:cubicBezTo>
                  <a:cubicBezTo>
                    <a:pt x="57" y="75"/>
                    <a:pt x="61" y="68"/>
                    <a:pt x="62" y="61"/>
                  </a:cubicBezTo>
                  <a:cubicBezTo>
                    <a:pt x="63" y="54"/>
                    <a:pt x="63" y="47"/>
                    <a:pt x="62" y="40"/>
                  </a:cubicBezTo>
                  <a:cubicBezTo>
                    <a:pt x="61" y="28"/>
                    <a:pt x="59" y="17"/>
                    <a:pt x="58" y="6"/>
                  </a:cubicBezTo>
                  <a:cubicBezTo>
                    <a:pt x="58" y="5"/>
                    <a:pt x="58" y="4"/>
                    <a:pt x="58" y="4"/>
                  </a:cubicBezTo>
                  <a:cubicBezTo>
                    <a:pt x="57" y="3"/>
                    <a:pt x="56" y="3"/>
                    <a:pt x="55" y="3"/>
                  </a:cubicBezTo>
                  <a:cubicBezTo>
                    <a:pt x="51" y="3"/>
                    <a:pt x="38" y="0"/>
                    <a:pt x="35" y="3"/>
                  </a:cubicBezTo>
                  <a:cubicBezTo>
                    <a:pt x="32" y="6"/>
                    <a:pt x="34" y="13"/>
                    <a:pt x="32" y="17"/>
                  </a:cubicBezTo>
                  <a:cubicBezTo>
                    <a:pt x="29" y="26"/>
                    <a:pt x="21" y="34"/>
                    <a:pt x="11" y="36"/>
                  </a:cubicBez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32" name="îṥḷîďè"/>
            <p:cNvSpPr/>
            <p:nvPr userDrawn="1"/>
          </p:nvSpPr>
          <p:spPr bwMode="auto">
            <a:xfrm>
              <a:off x="10339565" y="3093535"/>
              <a:ext cx="429601" cy="1279742"/>
            </a:xfrm>
            <a:custGeom>
              <a:avLst/>
              <a:gdLst>
                <a:gd name="T0" fmla="*/ 8 w 123"/>
                <a:gd name="T1" fmla="*/ 20 h 368"/>
                <a:gd name="T2" fmla="*/ 40 w 123"/>
                <a:gd name="T3" fmla="*/ 7 h 368"/>
                <a:gd name="T4" fmla="*/ 117 w 123"/>
                <a:gd name="T5" fmla="*/ 142 h 368"/>
                <a:gd name="T6" fmla="*/ 117 w 123"/>
                <a:gd name="T7" fmla="*/ 368 h 368"/>
                <a:gd name="T8" fmla="*/ 70 w 123"/>
                <a:gd name="T9" fmla="*/ 368 h 368"/>
                <a:gd name="T10" fmla="*/ 51 w 123"/>
                <a:gd name="T11" fmla="*/ 107 h 368"/>
                <a:gd name="T12" fmla="*/ 8 w 123"/>
                <a:gd name="T13" fmla="*/ 2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68">
                  <a:moveTo>
                    <a:pt x="8" y="20"/>
                  </a:moveTo>
                  <a:cubicBezTo>
                    <a:pt x="12" y="7"/>
                    <a:pt x="27" y="0"/>
                    <a:pt x="40" y="7"/>
                  </a:cubicBezTo>
                  <a:cubicBezTo>
                    <a:pt x="67" y="22"/>
                    <a:pt x="113" y="59"/>
                    <a:pt x="117" y="142"/>
                  </a:cubicBezTo>
                  <a:cubicBezTo>
                    <a:pt x="123" y="260"/>
                    <a:pt x="117" y="368"/>
                    <a:pt x="117" y="368"/>
                  </a:cubicBezTo>
                  <a:cubicBezTo>
                    <a:pt x="70" y="368"/>
                    <a:pt x="70" y="368"/>
                    <a:pt x="70" y="368"/>
                  </a:cubicBezTo>
                  <a:cubicBezTo>
                    <a:pt x="70" y="368"/>
                    <a:pt x="66" y="143"/>
                    <a:pt x="51" y="107"/>
                  </a:cubicBezTo>
                  <a:cubicBezTo>
                    <a:pt x="38" y="76"/>
                    <a:pt x="0" y="53"/>
                    <a:pt x="8" y="20"/>
                  </a:cubicBezTo>
                  <a:close/>
                </a:path>
              </a:pathLst>
            </a:custGeom>
            <a:solidFill>
              <a:srgbClr val="FFB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656075" y="3888712"/>
            <a:ext cx="6476715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669924" y="2171579"/>
            <a:ext cx="6476715" cy="174967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4454960"/>
            <a:ext cx="645603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4737484"/>
            <a:ext cx="645603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54" name="line-dot-chart_64739"/>
          <p:cNvSpPr>
            <a:spLocks noChangeAspect="1"/>
          </p:cNvSpPr>
          <p:nvPr userDrawn="1"/>
        </p:nvSpPr>
        <p:spPr bwMode="auto">
          <a:xfrm rot="20477193">
            <a:off x="6517673" y="1970470"/>
            <a:ext cx="782899" cy="781719"/>
          </a:xfrm>
          <a:custGeom>
            <a:avLst/>
            <a:gdLst>
              <a:gd name="connsiteX0" fmla="*/ 556672 w 608415"/>
              <a:gd name="connsiteY0" fmla="*/ 135486 h 607498"/>
              <a:gd name="connsiteX1" fmla="*/ 600088 w 608415"/>
              <a:gd name="connsiteY1" fmla="*/ 178963 h 607498"/>
              <a:gd name="connsiteX2" fmla="*/ 559149 w 608415"/>
              <a:gd name="connsiteY2" fmla="*/ 222309 h 607498"/>
              <a:gd name="connsiteX3" fmla="*/ 464886 w 608415"/>
              <a:gd name="connsiteY3" fmla="*/ 343757 h 607498"/>
              <a:gd name="connsiteX4" fmla="*/ 465146 w 608415"/>
              <a:gd name="connsiteY4" fmla="*/ 348443 h 607498"/>
              <a:gd name="connsiteX5" fmla="*/ 421730 w 608415"/>
              <a:gd name="connsiteY5" fmla="*/ 391790 h 607498"/>
              <a:gd name="connsiteX6" fmla="*/ 379879 w 608415"/>
              <a:gd name="connsiteY6" fmla="*/ 360419 h 607498"/>
              <a:gd name="connsiteX7" fmla="*/ 286137 w 608415"/>
              <a:gd name="connsiteY7" fmla="*/ 308091 h 607498"/>
              <a:gd name="connsiteX8" fmla="*/ 266971 w 608415"/>
              <a:gd name="connsiteY8" fmla="*/ 311345 h 607498"/>
              <a:gd name="connsiteX9" fmla="*/ 189657 w 608415"/>
              <a:gd name="connsiteY9" fmla="*/ 396085 h 607498"/>
              <a:gd name="connsiteX10" fmla="*/ 189917 w 608415"/>
              <a:gd name="connsiteY10" fmla="*/ 400511 h 607498"/>
              <a:gd name="connsiteX11" fmla="*/ 146371 w 608415"/>
              <a:gd name="connsiteY11" fmla="*/ 443857 h 607498"/>
              <a:gd name="connsiteX12" fmla="*/ 102955 w 608415"/>
              <a:gd name="connsiteY12" fmla="*/ 400511 h 607498"/>
              <a:gd name="connsiteX13" fmla="*/ 145198 w 608415"/>
              <a:gd name="connsiteY13" fmla="*/ 357165 h 607498"/>
              <a:gd name="connsiteX14" fmla="*/ 225771 w 608415"/>
              <a:gd name="connsiteY14" fmla="*/ 268780 h 607498"/>
              <a:gd name="connsiteX15" fmla="*/ 225771 w 608415"/>
              <a:gd name="connsiteY15" fmla="*/ 267999 h 607498"/>
              <a:gd name="connsiteX16" fmla="*/ 269318 w 608415"/>
              <a:gd name="connsiteY16" fmla="*/ 224652 h 607498"/>
              <a:gd name="connsiteX17" fmla="*/ 310387 w 608415"/>
              <a:gd name="connsiteY17" fmla="*/ 254070 h 607498"/>
              <a:gd name="connsiteX18" fmla="*/ 406606 w 608415"/>
              <a:gd name="connsiteY18" fmla="*/ 307700 h 607498"/>
              <a:gd name="connsiteX19" fmla="*/ 420166 w 608415"/>
              <a:gd name="connsiteY19" fmla="*/ 305097 h 607498"/>
              <a:gd name="connsiteX20" fmla="*/ 513647 w 608415"/>
              <a:gd name="connsiteY20" fmla="*/ 184560 h 607498"/>
              <a:gd name="connsiteX21" fmla="*/ 513256 w 608415"/>
              <a:gd name="connsiteY21" fmla="*/ 178963 h 607498"/>
              <a:gd name="connsiteX22" fmla="*/ 556672 w 608415"/>
              <a:gd name="connsiteY22" fmla="*/ 135486 h 607498"/>
              <a:gd name="connsiteX23" fmla="*/ 0 w 608415"/>
              <a:gd name="connsiteY23" fmla="*/ 0 h 607498"/>
              <a:gd name="connsiteX24" fmla="*/ 69485 w 608415"/>
              <a:gd name="connsiteY24" fmla="*/ 0 h 607498"/>
              <a:gd name="connsiteX25" fmla="*/ 69485 w 608415"/>
              <a:gd name="connsiteY25" fmla="*/ 537988 h 607498"/>
              <a:gd name="connsiteX26" fmla="*/ 608415 w 608415"/>
              <a:gd name="connsiteY26" fmla="*/ 537988 h 607498"/>
              <a:gd name="connsiteX27" fmla="*/ 608415 w 608415"/>
              <a:gd name="connsiteY27" fmla="*/ 607498 h 607498"/>
              <a:gd name="connsiteX28" fmla="*/ 0 w 608415"/>
              <a:gd name="connsiteY28" fmla="*/ 607498 h 607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08415" h="607498">
                <a:moveTo>
                  <a:pt x="556672" y="135486"/>
                </a:moveTo>
                <a:cubicBezTo>
                  <a:pt x="580662" y="135486"/>
                  <a:pt x="600088" y="155012"/>
                  <a:pt x="600088" y="178963"/>
                </a:cubicBezTo>
                <a:cubicBezTo>
                  <a:pt x="600088" y="202003"/>
                  <a:pt x="581965" y="221007"/>
                  <a:pt x="559149" y="222309"/>
                </a:cubicBezTo>
                <a:lnTo>
                  <a:pt x="464886" y="343757"/>
                </a:lnTo>
                <a:cubicBezTo>
                  <a:pt x="465016" y="345319"/>
                  <a:pt x="465146" y="346881"/>
                  <a:pt x="465146" y="348443"/>
                </a:cubicBezTo>
                <a:cubicBezTo>
                  <a:pt x="465146" y="372394"/>
                  <a:pt x="445590" y="391790"/>
                  <a:pt x="421730" y="391790"/>
                </a:cubicBezTo>
                <a:cubicBezTo>
                  <a:pt x="401782" y="391790"/>
                  <a:pt x="385094" y="378642"/>
                  <a:pt x="379879" y="360419"/>
                </a:cubicBezTo>
                <a:lnTo>
                  <a:pt x="286137" y="308091"/>
                </a:lnTo>
                <a:cubicBezTo>
                  <a:pt x="280139" y="310564"/>
                  <a:pt x="273490" y="311735"/>
                  <a:pt x="266971" y="311345"/>
                </a:cubicBezTo>
                <a:lnTo>
                  <a:pt x="189657" y="396085"/>
                </a:lnTo>
                <a:cubicBezTo>
                  <a:pt x="189787" y="397517"/>
                  <a:pt x="189917" y="398949"/>
                  <a:pt x="189917" y="400511"/>
                </a:cubicBezTo>
                <a:cubicBezTo>
                  <a:pt x="189917" y="424462"/>
                  <a:pt x="170361" y="443857"/>
                  <a:pt x="146371" y="443857"/>
                </a:cubicBezTo>
                <a:cubicBezTo>
                  <a:pt x="122512" y="443857"/>
                  <a:pt x="102955" y="424462"/>
                  <a:pt x="102955" y="400511"/>
                </a:cubicBezTo>
                <a:cubicBezTo>
                  <a:pt x="102955" y="376950"/>
                  <a:pt x="121860" y="357815"/>
                  <a:pt x="145198" y="357165"/>
                </a:cubicBezTo>
                <a:lnTo>
                  <a:pt x="225771" y="268780"/>
                </a:lnTo>
                <a:cubicBezTo>
                  <a:pt x="225771" y="268519"/>
                  <a:pt x="225771" y="268259"/>
                  <a:pt x="225771" y="267999"/>
                </a:cubicBezTo>
                <a:cubicBezTo>
                  <a:pt x="225771" y="244047"/>
                  <a:pt x="245328" y="224652"/>
                  <a:pt x="269318" y="224652"/>
                </a:cubicBezTo>
                <a:cubicBezTo>
                  <a:pt x="288353" y="224652"/>
                  <a:pt x="304650" y="236758"/>
                  <a:pt x="310387" y="254070"/>
                </a:cubicBezTo>
                <a:lnTo>
                  <a:pt x="406606" y="307700"/>
                </a:lnTo>
                <a:cubicBezTo>
                  <a:pt x="410909" y="306138"/>
                  <a:pt x="415472" y="305227"/>
                  <a:pt x="420166" y="305097"/>
                </a:cubicBezTo>
                <a:lnTo>
                  <a:pt x="513647" y="184560"/>
                </a:lnTo>
                <a:cubicBezTo>
                  <a:pt x="513386" y="182738"/>
                  <a:pt x="513256" y="180785"/>
                  <a:pt x="513256" y="178963"/>
                </a:cubicBezTo>
                <a:cubicBezTo>
                  <a:pt x="513256" y="155012"/>
                  <a:pt x="532682" y="135486"/>
                  <a:pt x="556672" y="135486"/>
                </a:cubicBezTo>
                <a:close/>
                <a:moveTo>
                  <a:pt x="0" y="0"/>
                </a:moveTo>
                <a:lnTo>
                  <a:pt x="69485" y="0"/>
                </a:lnTo>
                <a:lnTo>
                  <a:pt x="69485" y="537988"/>
                </a:lnTo>
                <a:lnTo>
                  <a:pt x="608415" y="537988"/>
                </a:lnTo>
                <a:lnTo>
                  <a:pt x="608415" y="607498"/>
                </a:lnTo>
                <a:lnTo>
                  <a:pt x="0" y="60749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</p:sp>
      <p:sp>
        <p:nvSpPr>
          <p:cNvPr id="156" name="money_94943"/>
          <p:cNvSpPr>
            <a:spLocks noChangeAspect="1"/>
          </p:cNvSpPr>
          <p:nvPr userDrawn="1"/>
        </p:nvSpPr>
        <p:spPr bwMode="auto">
          <a:xfrm rot="20572893">
            <a:off x="6796467" y="3871883"/>
            <a:ext cx="665329" cy="740348"/>
          </a:xfrm>
          <a:custGeom>
            <a:avLst/>
            <a:gdLst>
              <a:gd name="connsiteX0" fmla="*/ 525873 w 544483"/>
              <a:gd name="connsiteY0" fmla="*/ 479281 h 605875"/>
              <a:gd name="connsiteX1" fmla="*/ 542232 w 544483"/>
              <a:gd name="connsiteY1" fmla="*/ 492165 h 605875"/>
              <a:gd name="connsiteX2" fmla="*/ 544483 w 544483"/>
              <a:gd name="connsiteY2" fmla="*/ 505649 h 605875"/>
              <a:gd name="connsiteX3" fmla="*/ 460890 w 544483"/>
              <a:gd name="connsiteY3" fmla="*/ 578908 h 605875"/>
              <a:gd name="connsiteX4" fmla="*/ 272242 w 544483"/>
              <a:gd name="connsiteY4" fmla="*/ 605875 h 605875"/>
              <a:gd name="connsiteX5" fmla="*/ 83593 w 544483"/>
              <a:gd name="connsiteY5" fmla="*/ 578908 h 605875"/>
              <a:gd name="connsiteX6" fmla="*/ 0 w 544483"/>
              <a:gd name="connsiteY6" fmla="*/ 505649 h 605875"/>
              <a:gd name="connsiteX7" fmla="*/ 1201 w 544483"/>
              <a:gd name="connsiteY7" fmla="*/ 495461 h 605875"/>
              <a:gd name="connsiteX8" fmla="*/ 20711 w 544483"/>
              <a:gd name="connsiteY8" fmla="*/ 480929 h 605875"/>
              <a:gd name="connsiteX9" fmla="*/ 37219 w 544483"/>
              <a:gd name="connsiteY9" fmla="*/ 485723 h 605875"/>
              <a:gd name="connsiteX10" fmla="*/ 63633 w 544483"/>
              <a:gd name="connsiteY10" fmla="*/ 495911 h 605875"/>
              <a:gd name="connsiteX11" fmla="*/ 272242 w 544483"/>
              <a:gd name="connsiteY11" fmla="*/ 526173 h 605875"/>
              <a:gd name="connsiteX12" fmla="*/ 480850 w 544483"/>
              <a:gd name="connsiteY12" fmla="*/ 495911 h 605875"/>
              <a:gd name="connsiteX13" fmla="*/ 483852 w 544483"/>
              <a:gd name="connsiteY13" fmla="*/ 494862 h 605875"/>
              <a:gd name="connsiteX14" fmla="*/ 511766 w 544483"/>
              <a:gd name="connsiteY14" fmla="*/ 483626 h 605875"/>
              <a:gd name="connsiteX15" fmla="*/ 525873 w 544483"/>
              <a:gd name="connsiteY15" fmla="*/ 479281 h 605875"/>
              <a:gd name="connsiteX16" fmla="*/ 525873 w 544483"/>
              <a:gd name="connsiteY16" fmla="*/ 343372 h 605875"/>
              <a:gd name="connsiteX17" fmla="*/ 542232 w 544483"/>
              <a:gd name="connsiteY17" fmla="*/ 356406 h 605875"/>
              <a:gd name="connsiteX18" fmla="*/ 544483 w 544483"/>
              <a:gd name="connsiteY18" fmla="*/ 369739 h 605875"/>
              <a:gd name="connsiteX19" fmla="*/ 460890 w 544483"/>
              <a:gd name="connsiteY19" fmla="*/ 442999 h 605875"/>
              <a:gd name="connsiteX20" fmla="*/ 272242 w 544483"/>
              <a:gd name="connsiteY20" fmla="*/ 469966 h 605875"/>
              <a:gd name="connsiteX21" fmla="*/ 83593 w 544483"/>
              <a:gd name="connsiteY21" fmla="*/ 442999 h 605875"/>
              <a:gd name="connsiteX22" fmla="*/ 0 w 544483"/>
              <a:gd name="connsiteY22" fmla="*/ 369739 h 605875"/>
              <a:gd name="connsiteX23" fmla="*/ 1201 w 544483"/>
              <a:gd name="connsiteY23" fmla="*/ 359552 h 605875"/>
              <a:gd name="connsiteX24" fmla="*/ 20561 w 544483"/>
              <a:gd name="connsiteY24" fmla="*/ 345020 h 605875"/>
              <a:gd name="connsiteX25" fmla="*/ 37219 w 544483"/>
              <a:gd name="connsiteY25" fmla="*/ 349814 h 605875"/>
              <a:gd name="connsiteX26" fmla="*/ 63633 w 544483"/>
              <a:gd name="connsiteY26" fmla="*/ 360151 h 605875"/>
              <a:gd name="connsiteX27" fmla="*/ 272242 w 544483"/>
              <a:gd name="connsiteY27" fmla="*/ 390264 h 605875"/>
              <a:gd name="connsiteX28" fmla="*/ 480850 w 544483"/>
              <a:gd name="connsiteY28" fmla="*/ 360151 h 605875"/>
              <a:gd name="connsiteX29" fmla="*/ 483852 w 544483"/>
              <a:gd name="connsiteY29" fmla="*/ 359103 h 605875"/>
              <a:gd name="connsiteX30" fmla="*/ 511766 w 544483"/>
              <a:gd name="connsiteY30" fmla="*/ 347717 h 605875"/>
              <a:gd name="connsiteX31" fmla="*/ 525873 w 544483"/>
              <a:gd name="connsiteY31" fmla="*/ 343372 h 605875"/>
              <a:gd name="connsiteX32" fmla="*/ 525873 w 544483"/>
              <a:gd name="connsiteY32" fmla="*/ 209297 h 605875"/>
              <a:gd name="connsiteX33" fmla="*/ 542232 w 544483"/>
              <a:gd name="connsiteY33" fmla="*/ 222331 h 605875"/>
              <a:gd name="connsiteX34" fmla="*/ 544483 w 544483"/>
              <a:gd name="connsiteY34" fmla="*/ 235664 h 605875"/>
              <a:gd name="connsiteX35" fmla="*/ 460890 w 544483"/>
              <a:gd name="connsiteY35" fmla="*/ 308924 h 605875"/>
              <a:gd name="connsiteX36" fmla="*/ 272242 w 544483"/>
              <a:gd name="connsiteY36" fmla="*/ 335891 h 605875"/>
              <a:gd name="connsiteX37" fmla="*/ 83593 w 544483"/>
              <a:gd name="connsiteY37" fmla="*/ 308924 h 605875"/>
              <a:gd name="connsiteX38" fmla="*/ 0 w 544483"/>
              <a:gd name="connsiteY38" fmla="*/ 235664 h 605875"/>
              <a:gd name="connsiteX39" fmla="*/ 1201 w 544483"/>
              <a:gd name="connsiteY39" fmla="*/ 225477 h 605875"/>
              <a:gd name="connsiteX40" fmla="*/ 20711 w 544483"/>
              <a:gd name="connsiteY40" fmla="*/ 210945 h 605875"/>
              <a:gd name="connsiteX41" fmla="*/ 37219 w 544483"/>
              <a:gd name="connsiteY41" fmla="*/ 215739 h 605875"/>
              <a:gd name="connsiteX42" fmla="*/ 63633 w 544483"/>
              <a:gd name="connsiteY42" fmla="*/ 225926 h 605875"/>
              <a:gd name="connsiteX43" fmla="*/ 272242 w 544483"/>
              <a:gd name="connsiteY43" fmla="*/ 256189 h 605875"/>
              <a:gd name="connsiteX44" fmla="*/ 480850 w 544483"/>
              <a:gd name="connsiteY44" fmla="*/ 225926 h 605875"/>
              <a:gd name="connsiteX45" fmla="*/ 483852 w 544483"/>
              <a:gd name="connsiteY45" fmla="*/ 225028 h 605875"/>
              <a:gd name="connsiteX46" fmla="*/ 511766 w 544483"/>
              <a:gd name="connsiteY46" fmla="*/ 213642 h 605875"/>
              <a:gd name="connsiteX47" fmla="*/ 525873 w 544483"/>
              <a:gd name="connsiteY47" fmla="*/ 209297 h 605875"/>
              <a:gd name="connsiteX48" fmla="*/ 272242 w 544483"/>
              <a:gd name="connsiteY48" fmla="*/ 0 h 605875"/>
              <a:gd name="connsiteX49" fmla="*/ 460890 w 544483"/>
              <a:gd name="connsiteY49" fmla="*/ 26970 h 605875"/>
              <a:gd name="connsiteX50" fmla="*/ 544483 w 544483"/>
              <a:gd name="connsiteY50" fmla="*/ 100238 h 605875"/>
              <a:gd name="connsiteX51" fmla="*/ 460890 w 544483"/>
              <a:gd name="connsiteY51" fmla="*/ 173506 h 605875"/>
              <a:gd name="connsiteX52" fmla="*/ 272242 w 544483"/>
              <a:gd name="connsiteY52" fmla="*/ 200476 h 605875"/>
              <a:gd name="connsiteX53" fmla="*/ 83593 w 544483"/>
              <a:gd name="connsiteY53" fmla="*/ 173506 h 605875"/>
              <a:gd name="connsiteX54" fmla="*/ 0 w 544483"/>
              <a:gd name="connsiteY54" fmla="*/ 100238 h 605875"/>
              <a:gd name="connsiteX55" fmla="*/ 83593 w 544483"/>
              <a:gd name="connsiteY55" fmla="*/ 26970 h 605875"/>
              <a:gd name="connsiteX56" fmla="*/ 272242 w 544483"/>
              <a:gd name="connsiteY56" fmla="*/ 0 h 60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544483" h="605875">
                <a:moveTo>
                  <a:pt x="525873" y="479281"/>
                </a:moveTo>
                <a:cubicBezTo>
                  <a:pt x="530376" y="479281"/>
                  <a:pt x="538630" y="480929"/>
                  <a:pt x="542232" y="492165"/>
                </a:cubicBezTo>
                <a:cubicBezTo>
                  <a:pt x="543733" y="496660"/>
                  <a:pt x="544483" y="501154"/>
                  <a:pt x="544483" y="505649"/>
                </a:cubicBezTo>
                <a:cubicBezTo>
                  <a:pt x="544483" y="534263"/>
                  <a:pt x="514768" y="560331"/>
                  <a:pt x="460890" y="578908"/>
                </a:cubicBezTo>
                <a:cubicBezTo>
                  <a:pt x="410313" y="596287"/>
                  <a:pt x="343378" y="605875"/>
                  <a:pt x="272242" y="605875"/>
                </a:cubicBezTo>
                <a:cubicBezTo>
                  <a:pt x="201105" y="605875"/>
                  <a:pt x="134170" y="596287"/>
                  <a:pt x="83593" y="578908"/>
                </a:cubicBezTo>
                <a:cubicBezTo>
                  <a:pt x="29715" y="560331"/>
                  <a:pt x="0" y="534263"/>
                  <a:pt x="0" y="505649"/>
                </a:cubicBezTo>
                <a:cubicBezTo>
                  <a:pt x="0" y="502203"/>
                  <a:pt x="450" y="498757"/>
                  <a:pt x="1201" y="495461"/>
                </a:cubicBezTo>
                <a:cubicBezTo>
                  <a:pt x="3002" y="488270"/>
                  <a:pt x="9755" y="480929"/>
                  <a:pt x="20711" y="480929"/>
                </a:cubicBezTo>
                <a:cubicBezTo>
                  <a:pt x="25663" y="480929"/>
                  <a:pt x="31216" y="482577"/>
                  <a:pt x="37219" y="485723"/>
                </a:cubicBezTo>
                <a:cubicBezTo>
                  <a:pt x="43222" y="488719"/>
                  <a:pt x="47575" y="490367"/>
                  <a:pt x="63633" y="495911"/>
                </a:cubicBezTo>
                <a:cubicBezTo>
                  <a:pt x="120212" y="515387"/>
                  <a:pt x="194351" y="526173"/>
                  <a:pt x="272242" y="526173"/>
                </a:cubicBezTo>
                <a:cubicBezTo>
                  <a:pt x="350132" y="526173"/>
                  <a:pt x="424271" y="515387"/>
                  <a:pt x="480850" y="495911"/>
                </a:cubicBezTo>
                <a:lnTo>
                  <a:pt x="483852" y="494862"/>
                </a:lnTo>
                <a:cubicBezTo>
                  <a:pt x="494207" y="491416"/>
                  <a:pt x="503962" y="487970"/>
                  <a:pt x="511766" y="483626"/>
                </a:cubicBezTo>
                <a:cubicBezTo>
                  <a:pt x="517019" y="480629"/>
                  <a:pt x="521671" y="479281"/>
                  <a:pt x="525873" y="479281"/>
                </a:cubicBezTo>
                <a:close/>
                <a:moveTo>
                  <a:pt x="525873" y="343372"/>
                </a:moveTo>
                <a:cubicBezTo>
                  <a:pt x="530376" y="343372"/>
                  <a:pt x="538630" y="345020"/>
                  <a:pt x="542232" y="356406"/>
                </a:cubicBezTo>
                <a:cubicBezTo>
                  <a:pt x="543733" y="360751"/>
                  <a:pt x="544483" y="365245"/>
                  <a:pt x="544483" y="369739"/>
                </a:cubicBezTo>
                <a:cubicBezTo>
                  <a:pt x="544483" y="398504"/>
                  <a:pt x="514768" y="424422"/>
                  <a:pt x="460890" y="442999"/>
                </a:cubicBezTo>
                <a:cubicBezTo>
                  <a:pt x="410313" y="460378"/>
                  <a:pt x="343378" y="469966"/>
                  <a:pt x="272242" y="469966"/>
                </a:cubicBezTo>
                <a:cubicBezTo>
                  <a:pt x="201105" y="469966"/>
                  <a:pt x="134170" y="460378"/>
                  <a:pt x="83593" y="442999"/>
                </a:cubicBezTo>
                <a:cubicBezTo>
                  <a:pt x="29715" y="424422"/>
                  <a:pt x="0" y="398504"/>
                  <a:pt x="0" y="369739"/>
                </a:cubicBezTo>
                <a:cubicBezTo>
                  <a:pt x="0" y="366294"/>
                  <a:pt x="450" y="362998"/>
                  <a:pt x="1201" y="359552"/>
                </a:cubicBezTo>
                <a:cubicBezTo>
                  <a:pt x="3002" y="352361"/>
                  <a:pt x="9755" y="345020"/>
                  <a:pt x="20561" y="345020"/>
                </a:cubicBezTo>
                <a:cubicBezTo>
                  <a:pt x="25663" y="345020"/>
                  <a:pt x="31216" y="346668"/>
                  <a:pt x="37219" y="349814"/>
                </a:cubicBezTo>
                <a:cubicBezTo>
                  <a:pt x="43222" y="352810"/>
                  <a:pt x="47575" y="354608"/>
                  <a:pt x="63633" y="360151"/>
                </a:cubicBezTo>
                <a:cubicBezTo>
                  <a:pt x="120212" y="379627"/>
                  <a:pt x="194351" y="390264"/>
                  <a:pt x="272242" y="390264"/>
                </a:cubicBezTo>
                <a:cubicBezTo>
                  <a:pt x="350132" y="390264"/>
                  <a:pt x="424271" y="379627"/>
                  <a:pt x="480850" y="360151"/>
                </a:cubicBezTo>
                <a:lnTo>
                  <a:pt x="483852" y="359103"/>
                </a:lnTo>
                <a:cubicBezTo>
                  <a:pt x="494207" y="355507"/>
                  <a:pt x="503962" y="352211"/>
                  <a:pt x="511766" y="347717"/>
                </a:cubicBezTo>
                <a:cubicBezTo>
                  <a:pt x="517019" y="344870"/>
                  <a:pt x="521671" y="343372"/>
                  <a:pt x="525873" y="343372"/>
                </a:cubicBezTo>
                <a:close/>
                <a:moveTo>
                  <a:pt x="525873" y="209297"/>
                </a:moveTo>
                <a:cubicBezTo>
                  <a:pt x="530376" y="209297"/>
                  <a:pt x="538630" y="210945"/>
                  <a:pt x="542232" y="222331"/>
                </a:cubicBezTo>
                <a:cubicBezTo>
                  <a:pt x="543733" y="226676"/>
                  <a:pt x="544483" y="231170"/>
                  <a:pt x="544483" y="235664"/>
                </a:cubicBezTo>
                <a:cubicBezTo>
                  <a:pt x="544483" y="264429"/>
                  <a:pt x="514768" y="290347"/>
                  <a:pt x="460890" y="308924"/>
                </a:cubicBezTo>
                <a:cubicBezTo>
                  <a:pt x="410313" y="326303"/>
                  <a:pt x="343378" y="335891"/>
                  <a:pt x="272242" y="335891"/>
                </a:cubicBezTo>
                <a:cubicBezTo>
                  <a:pt x="201105" y="335891"/>
                  <a:pt x="134170" y="326303"/>
                  <a:pt x="83593" y="308924"/>
                </a:cubicBezTo>
                <a:cubicBezTo>
                  <a:pt x="29715" y="290347"/>
                  <a:pt x="0" y="264429"/>
                  <a:pt x="0" y="235664"/>
                </a:cubicBezTo>
                <a:cubicBezTo>
                  <a:pt x="0" y="232219"/>
                  <a:pt x="450" y="228773"/>
                  <a:pt x="1201" y="225477"/>
                </a:cubicBezTo>
                <a:cubicBezTo>
                  <a:pt x="3002" y="218286"/>
                  <a:pt x="9755" y="210945"/>
                  <a:pt x="20711" y="210945"/>
                </a:cubicBezTo>
                <a:cubicBezTo>
                  <a:pt x="25663" y="210945"/>
                  <a:pt x="31216" y="212593"/>
                  <a:pt x="37219" y="215739"/>
                </a:cubicBezTo>
                <a:cubicBezTo>
                  <a:pt x="43222" y="218735"/>
                  <a:pt x="47575" y="220533"/>
                  <a:pt x="63633" y="225926"/>
                </a:cubicBezTo>
                <a:cubicBezTo>
                  <a:pt x="120212" y="245402"/>
                  <a:pt x="194351" y="256189"/>
                  <a:pt x="272242" y="256189"/>
                </a:cubicBezTo>
                <a:cubicBezTo>
                  <a:pt x="350132" y="256189"/>
                  <a:pt x="424271" y="245402"/>
                  <a:pt x="480850" y="225926"/>
                </a:cubicBezTo>
                <a:lnTo>
                  <a:pt x="483852" y="225028"/>
                </a:lnTo>
                <a:cubicBezTo>
                  <a:pt x="494207" y="221432"/>
                  <a:pt x="503962" y="217986"/>
                  <a:pt x="511766" y="213642"/>
                </a:cubicBezTo>
                <a:cubicBezTo>
                  <a:pt x="517019" y="210795"/>
                  <a:pt x="521671" y="209297"/>
                  <a:pt x="525873" y="209297"/>
                </a:cubicBezTo>
                <a:close/>
                <a:moveTo>
                  <a:pt x="272242" y="0"/>
                </a:moveTo>
                <a:cubicBezTo>
                  <a:pt x="343378" y="0"/>
                  <a:pt x="410313" y="9589"/>
                  <a:pt x="460890" y="26970"/>
                </a:cubicBezTo>
                <a:cubicBezTo>
                  <a:pt x="514768" y="45549"/>
                  <a:pt x="544483" y="71620"/>
                  <a:pt x="544483" y="100238"/>
                </a:cubicBezTo>
                <a:cubicBezTo>
                  <a:pt x="544483" y="129006"/>
                  <a:pt x="514768" y="154927"/>
                  <a:pt x="460890" y="173506"/>
                </a:cubicBezTo>
                <a:cubicBezTo>
                  <a:pt x="410313" y="190887"/>
                  <a:pt x="343378" y="200476"/>
                  <a:pt x="272242" y="200476"/>
                </a:cubicBezTo>
                <a:cubicBezTo>
                  <a:pt x="201105" y="200476"/>
                  <a:pt x="134170" y="190887"/>
                  <a:pt x="83593" y="173506"/>
                </a:cubicBezTo>
                <a:cubicBezTo>
                  <a:pt x="29715" y="154927"/>
                  <a:pt x="0" y="129006"/>
                  <a:pt x="0" y="100238"/>
                </a:cubicBezTo>
                <a:cubicBezTo>
                  <a:pt x="0" y="71620"/>
                  <a:pt x="29715" y="45549"/>
                  <a:pt x="83593" y="26970"/>
                </a:cubicBezTo>
                <a:cubicBezTo>
                  <a:pt x="134170" y="9589"/>
                  <a:pt x="201105" y="0"/>
                  <a:pt x="272242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</p:sp>
      <p:sp>
        <p:nvSpPr>
          <p:cNvPr id="158" name="economic-investment_66030"/>
          <p:cNvSpPr>
            <a:spLocks noChangeAspect="1"/>
          </p:cNvSpPr>
          <p:nvPr userDrawn="1"/>
        </p:nvSpPr>
        <p:spPr bwMode="auto">
          <a:xfrm>
            <a:off x="9048712" y="1509544"/>
            <a:ext cx="713089" cy="711994"/>
          </a:xfrm>
          <a:custGeom>
            <a:avLst/>
            <a:gdLst>
              <a:gd name="connsiteX0" fmla="*/ 333891 w 578320"/>
              <a:gd name="connsiteY0" fmla="*/ 314976 h 577432"/>
              <a:gd name="connsiteX1" fmla="*/ 398475 w 578320"/>
              <a:gd name="connsiteY1" fmla="*/ 314976 h 577432"/>
              <a:gd name="connsiteX2" fmla="*/ 424308 w 578320"/>
              <a:gd name="connsiteY2" fmla="*/ 340761 h 577432"/>
              <a:gd name="connsiteX3" fmla="*/ 424308 w 578320"/>
              <a:gd name="connsiteY3" fmla="*/ 550726 h 577432"/>
              <a:gd name="connsiteX4" fmla="*/ 398475 w 578320"/>
              <a:gd name="connsiteY4" fmla="*/ 577432 h 577432"/>
              <a:gd name="connsiteX5" fmla="*/ 333891 w 578320"/>
              <a:gd name="connsiteY5" fmla="*/ 577432 h 577432"/>
              <a:gd name="connsiteX6" fmla="*/ 307135 w 578320"/>
              <a:gd name="connsiteY6" fmla="*/ 550726 h 577432"/>
              <a:gd name="connsiteX7" fmla="*/ 307135 w 578320"/>
              <a:gd name="connsiteY7" fmla="*/ 340761 h 577432"/>
              <a:gd name="connsiteX8" fmla="*/ 333891 w 578320"/>
              <a:gd name="connsiteY8" fmla="*/ 314976 h 577432"/>
              <a:gd name="connsiteX9" fmla="*/ 179853 w 578320"/>
              <a:gd name="connsiteY9" fmla="*/ 314976 h 577432"/>
              <a:gd name="connsiteX10" fmla="*/ 244456 w 578320"/>
              <a:gd name="connsiteY10" fmla="*/ 314976 h 577432"/>
              <a:gd name="connsiteX11" fmla="*/ 270297 w 578320"/>
              <a:gd name="connsiteY11" fmla="*/ 340761 h 577432"/>
              <a:gd name="connsiteX12" fmla="*/ 270297 w 578320"/>
              <a:gd name="connsiteY12" fmla="*/ 550726 h 577432"/>
              <a:gd name="connsiteX13" fmla="*/ 244456 w 578320"/>
              <a:gd name="connsiteY13" fmla="*/ 577432 h 577432"/>
              <a:gd name="connsiteX14" fmla="*/ 179853 w 578320"/>
              <a:gd name="connsiteY14" fmla="*/ 577432 h 577432"/>
              <a:gd name="connsiteX15" fmla="*/ 154012 w 578320"/>
              <a:gd name="connsiteY15" fmla="*/ 550726 h 577432"/>
              <a:gd name="connsiteX16" fmla="*/ 154012 w 578320"/>
              <a:gd name="connsiteY16" fmla="*/ 340761 h 577432"/>
              <a:gd name="connsiteX17" fmla="*/ 179853 w 578320"/>
              <a:gd name="connsiteY17" fmla="*/ 314976 h 577432"/>
              <a:gd name="connsiteX18" fmla="*/ 486981 w 578320"/>
              <a:gd name="connsiteY18" fmla="*/ 235677 h 577432"/>
              <a:gd name="connsiteX19" fmla="*/ 551564 w 578320"/>
              <a:gd name="connsiteY19" fmla="*/ 235677 h 577432"/>
              <a:gd name="connsiteX20" fmla="*/ 578320 w 578320"/>
              <a:gd name="connsiteY20" fmla="*/ 262391 h 577432"/>
              <a:gd name="connsiteX21" fmla="*/ 578320 w 578320"/>
              <a:gd name="connsiteY21" fmla="*/ 550718 h 577432"/>
              <a:gd name="connsiteX22" fmla="*/ 551564 w 578320"/>
              <a:gd name="connsiteY22" fmla="*/ 577432 h 577432"/>
              <a:gd name="connsiteX23" fmla="*/ 486981 w 578320"/>
              <a:gd name="connsiteY23" fmla="*/ 577432 h 577432"/>
              <a:gd name="connsiteX24" fmla="*/ 461147 w 578320"/>
              <a:gd name="connsiteY24" fmla="*/ 550718 h 577432"/>
              <a:gd name="connsiteX25" fmla="*/ 461147 w 578320"/>
              <a:gd name="connsiteY25" fmla="*/ 262391 h 577432"/>
              <a:gd name="connsiteX26" fmla="*/ 486981 w 578320"/>
              <a:gd name="connsiteY26" fmla="*/ 235677 h 577432"/>
              <a:gd name="connsiteX27" fmla="*/ 25833 w 578320"/>
              <a:gd name="connsiteY27" fmla="*/ 235677 h 577432"/>
              <a:gd name="connsiteX28" fmla="*/ 90417 w 578320"/>
              <a:gd name="connsiteY28" fmla="*/ 235677 h 577432"/>
              <a:gd name="connsiteX29" fmla="*/ 117173 w 578320"/>
              <a:gd name="connsiteY29" fmla="*/ 262391 h 577432"/>
              <a:gd name="connsiteX30" fmla="*/ 117173 w 578320"/>
              <a:gd name="connsiteY30" fmla="*/ 550718 h 577432"/>
              <a:gd name="connsiteX31" fmla="*/ 90417 w 578320"/>
              <a:gd name="connsiteY31" fmla="*/ 577432 h 577432"/>
              <a:gd name="connsiteX32" fmla="*/ 25833 w 578320"/>
              <a:gd name="connsiteY32" fmla="*/ 577432 h 577432"/>
              <a:gd name="connsiteX33" fmla="*/ 0 w 578320"/>
              <a:gd name="connsiteY33" fmla="*/ 550718 h 577432"/>
              <a:gd name="connsiteX34" fmla="*/ 0 w 578320"/>
              <a:gd name="connsiteY34" fmla="*/ 262391 h 577432"/>
              <a:gd name="connsiteX35" fmla="*/ 25833 w 578320"/>
              <a:gd name="connsiteY35" fmla="*/ 235677 h 577432"/>
              <a:gd name="connsiteX36" fmla="*/ 297075 w 578320"/>
              <a:gd name="connsiteY36" fmla="*/ 158450 h 577432"/>
              <a:gd name="connsiteX37" fmla="*/ 326516 w 578320"/>
              <a:gd name="connsiteY37" fmla="*/ 181440 h 577432"/>
              <a:gd name="connsiteX38" fmla="*/ 297075 w 578320"/>
              <a:gd name="connsiteY38" fmla="*/ 205349 h 577432"/>
              <a:gd name="connsiteX39" fmla="*/ 282280 w 578320"/>
              <a:gd name="connsiteY39" fmla="*/ 81074 h 577432"/>
              <a:gd name="connsiteX40" fmla="*/ 282280 w 578320"/>
              <a:gd name="connsiteY40" fmla="*/ 124274 h 577432"/>
              <a:gd name="connsiteX41" fmla="*/ 255502 w 578320"/>
              <a:gd name="connsiteY41" fmla="*/ 101295 h 577432"/>
              <a:gd name="connsiteX42" fmla="*/ 282280 w 578320"/>
              <a:gd name="connsiteY42" fmla="*/ 81074 h 577432"/>
              <a:gd name="connsiteX43" fmla="*/ 289621 w 578320"/>
              <a:gd name="connsiteY43" fmla="*/ 35910 h 577432"/>
              <a:gd name="connsiteX44" fmla="*/ 282244 w 578320"/>
              <a:gd name="connsiteY44" fmla="*/ 44197 h 577432"/>
              <a:gd name="connsiteX45" fmla="*/ 282244 w 578320"/>
              <a:gd name="connsiteY45" fmla="*/ 57087 h 577432"/>
              <a:gd name="connsiteX46" fmla="*/ 225069 w 578320"/>
              <a:gd name="connsiteY46" fmla="*/ 106808 h 577432"/>
              <a:gd name="connsiteX47" fmla="*/ 282244 w 578320"/>
              <a:gd name="connsiteY47" fmla="*/ 155609 h 577432"/>
              <a:gd name="connsiteX48" fmla="*/ 282244 w 578320"/>
              <a:gd name="connsiteY48" fmla="*/ 205330 h 577432"/>
              <a:gd name="connsiteX49" fmla="*/ 237057 w 578320"/>
              <a:gd name="connsiteY49" fmla="*/ 170341 h 577432"/>
              <a:gd name="connsiteX50" fmla="*/ 222302 w 578320"/>
              <a:gd name="connsiteY50" fmla="*/ 185994 h 577432"/>
              <a:gd name="connsiteX51" fmla="*/ 282244 w 578320"/>
              <a:gd name="connsiteY51" fmla="*/ 229269 h 577432"/>
              <a:gd name="connsiteX52" fmla="*/ 282244 w 578320"/>
              <a:gd name="connsiteY52" fmla="*/ 244002 h 577432"/>
              <a:gd name="connsiteX53" fmla="*/ 289621 w 578320"/>
              <a:gd name="connsiteY53" fmla="*/ 252288 h 577432"/>
              <a:gd name="connsiteX54" fmla="*/ 296999 w 578320"/>
              <a:gd name="connsiteY54" fmla="*/ 244002 h 577432"/>
              <a:gd name="connsiteX55" fmla="*/ 296999 w 578320"/>
              <a:gd name="connsiteY55" fmla="*/ 229269 h 577432"/>
              <a:gd name="connsiteX56" fmla="*/ 356018 w 578320"/>
              <a:gd name="connsiteY56" fmla="*/ 179548 h 577432"/>
              <a:gd name="connsiteX57" fmla="*/ 296999 w 578320"/>
              <a:gd name="connsiteY57" fmla="*/ 126144 h 577432"/>
              <a:gd name="connsiteX58" fmla="*/ 296999 w 578320"/>
              <a:gd name="connsiteY58" fmla="*/ 81027 h 577432"/>
              <a:gd name="connsiteX59" fmla="*/ 338497 w 578320"/>
              <a:gd name="connsiteY59" fmla="*/ 106808 h 577432"/>
              <a:gd name="connsiteX60" fmla="*/ 353252 w 578320"/>
              <a:gd name="connsiteY60" fmla="*/ 92076 h 577432"/>
              <a:gd name="connsiteX61" fmla="*/ 296999 w 578320"/>
              <a:gd name="connsiteY61" fmla="*/ 57087 h 577432"/>
              <a:gd name="connsiteX62" fmla="*/ 296999 w 578320"/>
              <a:gd name="connsiteY62" fmla="*/ 44197 h 577432"/>
              <a:gd name="connsiteX63" fmla="*/ 289621 w 578320"/>
              <a:gd name="connsiteY63" fmla="*/ 35910 h 577432"/>
              <a:gd name="connsiteX64" fmla="*/ 288699 w 578320"/>
              <a:gd name="connsiteY64" fmla="*/ 0 h 577432"/>
              <a:gd name="connsiteX65" fmla="*/ 433481 w 578320"/>
              <a:gd name="connsiteY65" fmla="*/ 144559 h 577432"/>
              <a:gd name="connsiteX66" fmla="*/ 288699 w 578320"/>
              <a:gd name="connsiteY66" fmla="*/ 288198 h 577432"/>
              <a:gd name="connsiteX67" fmla="*/ 144839 w 578320"/>
              <a:gd name="connsiteY67" fmla="*/ 144559 h 577432"/>
              <a:gd name="connsiteX68" fmla="*/ 288699 w 578320"/>
              <a:gd name="connsiteY68" fmla="*/ 0 h 57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578320" h="577432">
                <a:moveTo>
                  <a:pt x="333891" y="314976"/>
                </a:moveTo>
                <a:lnTo>
                  <a:pt x="398475" y="314976"/>
                </a:lnTo>
                <a:cubicBezTo>
                  <a:pt x="412314" y="314976"/>
                  <a:pt x="424308" y="326948"/>
                  <a:pt x="424308" y="340761"/>
                </a:cubicBezTo>
                <a:lnTo>
                  <a:pt x="424308" y="550726"/>
                </a:lnTo>
                <a:cubicBezTo>
                  <a:pt x="424308" y="565460"/>
                  <a:pt x="412314" y="577432"/>
                  <a:pt x="398475" y="577432"/>
                </a:cubicBezTo>
                <a:lnTo>
                  <a:pt x="333891" y="577432"/>
                </a:lnTo>
                <a:cubicBezTo>
                  <a:pt x="319129" y="577432"/>
                  <a:pt x="307135" y="565460"/>
                  <a:pt x="307135" y="550726"/>
                </a:cubicBezTo>
                <a:lnTo>
                  <a:pt x="307135" y="340761"/>
                </a:lnTo>
                <a:cubicBezTo>
                  <a:pt x="307135" y="326948"/>
                  <a:pt x="319129" y="314976"/>
                  <a:pt x="333891" y="314976"/>
                </a:cubicBezTo>
                <a:close/>
                <a:moveTo>
                  <a:pt x="179853" y="314976"/>
                </a:moveTo>
                <a:lnTo>
                  <a:pt x="244456" y="314976"/>
                </a:lnTo>
                <a:cubicBezTo>
                  <a:pt x="259222" y="314976"/>
                  <a:pt x="270297" y="326948"/>
                  <a:pt x="270297" y="340761"/>
                </a:cubicBezTo>
                <a:lnTo>
                  <a:pt x="270297" y="550726"/>
                </a:lnTo>
                <a:cubicBezTo>
                  <a:pt x="270297" y="565460"/>
                  <a:pt x="259222" y="577432"/>
                  <a:pt x="244456" y="577432"/>
                </a:cubicBezTo>
                <a:lnTo>
                  <a:pt x="179853" y="577432"/>
                </a:lnTo>
                <a:cubicBezTo>
                  <a:pt x="165087" y="577432"/>
                  <a:pt x="154012" y="565460"/>
                  <a:pt x="154012" y="550726"/>
                </a:cubicBezTo>
                <a:lnTo>
                  <a:pt x="154012" y="340761"/>
                </a:lnTo>
                <a:cubicBezTo>
                  <a:pt x="154012" y="326948"/>
                  <a:pt x="165087" y="314976"/>
                  <a:pt x="179853" y="314976"/>
                </a:cubicBezTo>
                <a:close/>
                <a:moveTo>
                  <a:pt x="486981" y="235677"/>
                </a:moveTo>
                <a:lnTo>
                  <a:pt x="551564" y="235677"/>
                </a:lnTo>
                <a:cubicBezTo>
                  <a:pt x="566326" y="235677"/>
                  <a:pt x="578320" y="247652"/>
                  <a:pt x="578320" y="262391"/>
                </a:cubicBezTo>
                <a:lnTo>
                  <a:pt x="578320" y="550718"/>
                </a:lnTo>
                <a:cubicBezTo>
                  <a:pt x="578320" y="565457"/>
                  <a:pt x="566326" y="577432"/>
                  <a:pt x="551564" y="577432"/>
                </a:cubicBezTo>
                <a:lnTo>
                  <a:pt x="486981" y="577432"/>
                </a:lnTo>
                <a:cubicBezTo>
                  <a:pt x="473141" y="577432"/>
                  <a:pt x="461147" y="565457"/>
                  <a:pt x="461147" y="550718"/>
                </a:cubicBezTo>
                <a:lnTo>
                  <a:pt x="461147" y="262391"/>
                </a:lnTo>
                <a:cubicBezTo>
                  <a:pt x="461147" y="247652"/>
                  <a:pt x="473141" y="235677"/>
                  <a:pt x="486981" y="235677"/>
                </a:cubicBezTo>
                <a:close/>
                <a:moveTo>
                  <a:pt x="25833" y="235677"/>
                </a:moveTo>
                <a:lnTo>
                  <a:pt x="90417" y="235677"/>
                </a:lnTo>
                <a:cubicBezTo>
                  <a:pt x="105179" y="235677"/>
                  <a:pt x="117173" y="247652"/>
                  <a:pt x="117173" y="262391"/>
                </a:cubicBezTo>
                <a:lnTo>
                  <a:pt x="117173" y="550718"/>
                </a:lnTo>
                <a:cubicBezTo>
                  <a:pt x="117173" y="565457"/>
                  <a:pt x="105179" y="577432"/>
                  <a:pt x="90417" y="577432"/>
                </a:cubicBezTo>
                <a:lnTo>
                  <a:pt x="25833" y="577432"/>
                </a:lnTo>
                <a:cubicBezTo>
                  <a:pt x="11994" y="577432"/>
                  <a:pt x="0" y="565457"/>
                  <a:pt x="0" y="550718"/>
                </a:cubicBezTo>
                <a:lnTo>
                  <a:pt x="0" y="262391"/>
                </a:lnTo>
                <a:cubicBezTo>
                  <a:pt x="0" y="247652"/>
                  <a:pt x="11994" y="235677"/>
                  <a:pt x="25833" y="235677"/>
                </a:cubicBezTo>
                <a:close/>
                <a:moveTo>
                  <a:pt x="297075" y="158450"/>
                </a:moveTo>
                <a:cubicBezTo>
                  <a:pt x="309956" y="161209"/>
                  <a:pt x="326516" y="165807"/>
                  <a:pt x="326516" y="181440"/>
                </a:cubicBezTo>
                <a:cubicBezTo>
                  <a:pt x="326516" y="197992"/>
                  <a:pt x="310876" y="204429"/>
                  <a:pt x="297075" y="205349"/>
                </a:cubicBezTo>
                <a:close/>
                <a:moveTo>
                  <a:pt x="282280" y="81074"/>
                </a:moveTo>
                <a:lnTo>
                  <a:pt x="282280" y="124274"/>
                </a:lnTo>
                <a:cubicBezTo>
                  <a:pt x="264736" y="120597"/>
                  <a:pt x="255502" y="113244"/>
                  <a:pt x="255502" y="101295"/>
                </a:cubicBezTo>
                <a:cubicBezTo>
                  <a:pt x="255502" y="91185"/>
                  <a:pt x="265659" y="81993"/>
                  <a:pt x="282280" y="81074"/>
                </a:cubicBezTo>
                <a:close/>
                <a:moveTo>
                  <a:pt x="289621" y="35910"/>
                </a:moveTo>
                <a:cubicBezTo>
                  <a:pt x="285010" y="35910"/>
                  <a:pt x="282244" y="40514"/>
                  <a:pt x="282244" y="44197"/>
                </a:cubicBezTo>
                <a:lnTo>
                  <a:pt x="282244" y="57087"/>
                </a:lnTo>
                <a:cubicBezTo>
                  <a:pt x="252734" y="58008"/>
                  <a:pt x="225069" y="74582"/>
                  <a:pt x="225069" y="106808"/>
                </a:cubicBezTo>
                <a:cubicBezTo>
                  <a:pt x="225069" y="133510"/>
                  <a:pt x="247201" y="149163"/>
                  <a:pt x="282244" y="155609"/>
                </a:cubicBezTo>
                <a:lnTo>
                  <a:pt x="282244" y="205330"/>
                </a:lnTo>
                <a:cubicBezTo>
                  <a:pt x="242590" y="203488"/>
                  <a:pt x="263800" y="170341"/>
                  <a:pt x="237057" y="170341"/>
                </a:cubicBezTo>
                <a:cubicBezTo>
                  <a:pt x="227835" y="170341"/>
                  <a:pt x="222302" y="175865"/>
                  <a:pt x="222302" y="185994"/>
                </a:cubicBezTo>
                <a:cubicBezTo>
                  <a:pt x="222302" y="204409"/>
                  <a:pt x="241668" y="228349"/>
                  <a:pt x="282244" y="229269"/>
                </a:cubicBezTo>
                <a:lnTo>
                  <a:pt x="282244" y="244002"/>
                </a:lnTo>
                <a:cubicBezTo>
                  <a:pt x="282244" y="248605"/>
                  <a:pt x="285010" y="252288"/>
                  <a:pt x="289621" y="252288"/>
                </a:cubicBezTo>
                <a:cubicBezTo>
                  <a:pt x="293310" y="252288"/>
                  <a:pt x="296999" y="248605"/>
                  <a:pt x="296999" y="244002"/>
                </a:cubicBezTo>
                <a:lnTo>
                  <a:pt x="296999" y="229269"/>
                </a:lnTo>
                <a:cubicBezTo>
                  <a:pt x="332042" y="227428"/>
                  <a:pt x="356018" y="210854"/>
                  <a:pt x="356018" y="179548"/>
                </a:cubicBezTo>
                <a:cubicBezTo>
                  <a:pt x="356018" y="142718"/>
                  <a:pt x="328353" y="133510"/>
                  <a:pt x="296999" y="126144"/>
                </a:cubicBezTo>
                <a:lnTo>
                  <a:pt x="296999" y="81027"/>
                </a:lnTo>
                <a:cubicBezTo>
                  <a:pt x="322820" y="81948"/>
                  <a:pt x="322820" y="106808"/>
                  <a:pt x="338497" y="106808"/>
                </a:cubicBezTo>
                <a:cubicBezTo>
                  <a:pt x="346796" y="106808"/>
                  <a:pt x="353252" y="101284"/>
                  <a:pt x="353252" y="92076"/>
                </a:cubicBezTo>
                <a:cubicBezTo>
                  <a:pt x="353252" y="69057"/>
                  <a:pt x="315442" y="57087"/>
                  <a:pt x="296999" y="57087"/>
                </a:cubicBezTo>
                <a:lnTo>
                  <a:pt x="296999" y="44197"/>
                </a:lnTo>
                <a:cubicBezTo>
                  <a:pt x="296999" y="40514"/>
                  <a:pt x="293310" y="35910"/>
                  <a:pt x="289621" y="35910"/>
                </a:cubicBezTo>
                <a:close/>
                <a:moveTo>
                  <a:pt x="288699" y="0"/>
                </a:moveTo>
                <a:cubicBezTo>
                  <a:pt x="368929" y="0"/>
                  <a:pt x="433481" y="64453"/>
                  <a:pt x="433481" y="144559"/>
                </a:cubicBezTo>
                <a:cubicBezTo>
                  <a:pt x="433481" y="223745"/>
                  <a:pt x="368929" y="288198"/>
                  <a:pt x="288699" y="288198"/>
                </a:cubicBezTo>
                <a:cubicBezTo>
                  <a:pt x="209392" y="288198"/>
                  <a:pt x="144839" y="223745"/>
                  <a:pt x="144839" y="144559"/>
                </a:cubicBezTo>
                <a:cubicBezTo>
                  <a:pt x="144839" y="64453"/>
                  <a:pt x="209392" y="0"/>
                  <a:pt x="28869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</p:sp>
      <p:sp>
        <p:nvSpPr>
          <p:cNvPr id="159" name="lightbulb-idea_66298"/>
          <p:cNvSpPr>
            <a:spLocks noChangeAspect="1"/>
          </p:cNvSpPr>
          <p:nvPr userDrawn="1"/>
        </p:nvSpPr>
        <p:spPr bwMode="auto">
          <a:xfrm rot="689608">
            <a:off x="7710868" y="1043778"/>
            <a:ext cx="709084" cy="782899"/>
          </a:xfrm>
          <a:custGeom>
            <a:avLst/>
            <a:gdLst>
              <a:gd name="connsiteX0" fmla="*/ 261051 w 522989"/>
              <a:gd name="connsiteY0" fmla="*/ 362763 h 577432"/>
              <a:gd name="connsiteX1" fmla="*/ 288791 w 522989"/>
              <a:gd name="connsiteY1" fmla="*/ 390429 h 577432"/>
              <a:gd name="connsiteX2" fmla="*/ 261051 w 522989"/>
              <a:gd name="connsiteY2" fmla="*/ 418095 h 577432"/>
              <a:gd name="connsiteX3" fmla="*/ 233311 w 522989"/>
              <a:gd name="connsiteY3" fmla="*/ 390429 h 577432"/>
              <a:gd name="connsiteX4" fmla="*/ 261051 w 522989"/>
              <a:gd name="connsiteY4" fmla="*/ 362763 h 577432"/>
              <a:gd name="connsiteX5" fmla="*/ 446328 w 522989"/>
              <a:gd name="connsiteY5" fmla="*/ 358474 h 577432"/>
              <a:gd name="connsiteX6" fmla="*/ 454749 w 522989"/>
              <a:gd name="connsiteY6" fmla="*/ 360086 h 577432"/>
              <a:gd name="connsiteX7" fmla="*/ 483355 w 522989"/>
              <a:gd name="connsiteY7" fmla="*/ 376670 h 577432"/>
              <a:gd name="connsiteX8" fmla="*/ 487969 w 522989"/>
              <a:gd name="connsiteY8" fmla="*/ 391410 h 577432"/>
              <a:gd name="connsiteX9" fmla="*/ 477818 w 522989"/>
              <a:gd name="connsiteY9" fmla="*/ 396938 h 577432"/>
              <a:gd name="connsiteX10" fmla="*/ 472281 w 522989"/>
              <a:gd name="connsiteY10" fmla="*/ 395096 h 577432"/>
              <a:gd name="connsiteX11" fmla="*/ 443675 w 522989"/>
              <a:gd name="connsiteY11" fmla="*/ 378512 h 577432"/>
              <a:gd name="connsiteX12" fmla="*/ 439984 w 522989"/>
              <a:gd name="connsiteY12" fmla="*/ 363772 h 577432"/>
              <a:gd name="connsiteX13" fmla="*/ 446328 w 522989"/>
              <a:gd name="connsiteY13" fmla="*/ 358474 h 577432"/>
              <a:gd name="connsiteX14" fmla="*/ 76344 w 522989"/>
              <a:gd name="connsiteY14" fmla="*/ 358474 h 577432"/>
              <a:gd name="connsiteX15" fmla="*/ 83038 w 522989"/>
              <a:gd name="connsiteY15" fmla="*/ 363772 h 577432"/>
              <a:gd name="connsiteX16" fmla="*/ 79344 w 522989"/>
              <a:gd name="connsiteY16" fmla="*/ 378512 h 577432"/>
              <a:gd name="connsiteX17" fmla="*/ 49796 w 522989"/>
              <a:gd name="connsiteY17" fmla="*/ 395096 h 577432"/>
              <a:gd name="connsiteX18" fmla="*/ 44256 w 522989"/>
              <a:gd name="connsiteY18" fmla="*/ 396938 h 577432"/>
              <a:gd name="connsiteX19" fmla="*/ 35022 w 522989"/>
              <a:gd name="connsiteY19" fmla="*/ 391410 h 577432"/>
              <a:gd name="connsiteX20" fmla="*/ 38716 w 522989"/>
              <a:gd name="connsiteY20" fmla="*/ 376670 h 577432"/>
              <a:gd name="connsiteX21" fmla="*/ 68264 w 522989"/>
              <a:gd name="connsiteY21" fmla="*/ 360086 h 577432"/>
              <a:gd name="connsiteX22" fmla="*/ 76344 w 522989"/>
              <a:gd name="connsiteY22" fmla="*/ 358474 h 577432"/>
              <a:gd name="connsiteX23" fmla="*/ 478723 w 522989"/>
              <a:gd name="connsiteY23" fmla="*/ 249584 h 577432"/>
              <a:gd name="connsiteX24" fmla="*/ 511923 w 522989"/>
              <a:gd name="connsiteY24" fmla="*/ 249584 h 577432"/>
              <a:gd name="connsiteX25" fmla="*/ 522989 w 522989"/>
              <a:gd name="connsiteY25" fmla="*/ 260606 h 577432"/>
              <a:gd name="connsiteX26" fmla="*/ 511923 w 522989"/>
              <a:gd name="connsiteY26" fmla="*/ 271628 h 577432"/>
              <a:gd name="connsiteX27" fmla="*/ 478723 w 522989"/>
              <a:gd name="connsiteY27" fmla="*/ 271628 h 577432"/>
              <a:gd name="connsiteX28" fmla="*/ 467657 w 522989"/>
              <a:gd name="connsiteY28" fmla="*/ 260606 h 577432"/>
              <a:gd name="connsiteX29" fmla="*/ 478723 w 522989"/>
              <a:gd name="connsiteY29" fmla="*/ 249584 h 577432"/>
              <a:gd name="connsiteX30" fmla="*/ 11066 w 522989"/>
              <a:gd name="connsiteY30" fmla="*/ 249584 h 577432"/>
              <a:gd name="connsiteX31" fmla="*/ 44266 w 522989"/>
              <a:gd name="connsiteY31" fmla="*/ 249584 h 577432"/>
              <a:gd name="connsiteX32" fmla="*/ 55332 w 522989"/>
              <a:gd name="connsiteY32" fmla="*/ 260606 h 577432"/>
              <a:gd name="connsiteX33" fmla="*/ 44266 w 522989"/>
              <a:gd name="connsiteY33" fmla="*/ 271628 h 577432"/>
              <a:gd name="connsiteX34" fmla="*/ 11066 w 522989"/>
              <a:gd name="connsiteY34" fmla="*/ 271628 h 577432"/>
              <a:gd name="connsiteX35" fmla="*/ 0 w 522989"/>
              <a:gd name="connsiteY35" fmla="*/ 260606 h 577432"/>
              <a:gd name="connsiteX36" fmla="*/ 11066 w 522989"/>
              <a:gd name="connsiteY36" fmla="*/ 249584 h 577432"/>
              <a:gd name="connsiteX37" fmla="*/ 261050 w 522989"/>
              <a:gd name="connsiteY37" fmla="*/ 167622 h 577432"/>
              <a:gd name="connsiteX38" fmla="*/ 287754 w 522989"/>
              <a:gd name="connsiteY38" fmla="*/ 193402 h 577432"/>
              <a:gd name="connsiteX39" fmla="*/ 287754 w 522989"/>
              <a:gd name="connsiteY39" fmla="*/ 232993 h 577432"/>
              <a:gd name="connsiteX40" fmla="*/ 286833 w 522989"/>
              <a:gd name="connsiteY40" fmla="*/ 248645 h 577432"/>
              <a:gd name="connsiteX41" fmla="*/ 276704 w 522989"/>
              <a:gd name="connsiteY41" fmla="*/ 327828 h 577432"/>
              <a:gd name="connsiteX42" fmla="*/ 261050 w 522989"/>
              <a:gd name="connsiteY42" fmla="*/ 340718 h 577432"/>
              <a:gd name="connsiteX43" fmla="*/ 246317 w 522989"/>
              <a:gd name="connsiteY43" fmla="*/ 327828 h 577432"/>
              <a:gd name="connsiteX44" fmla="*/ 236188 w 522989"/>
              <a:gd name="connsiteY44" fmla="*/ 248645 h 577432"/>
              <a:gd name="connsiteX45" fmla="*/ 234346 w 522989"/>
              <a:gd name="connsiteY45" fmla="*/ 232993 h 577432"/>
              <a:gd name="connsiteX46" fmla="*/ 234346 w 522989"/>
              <a:gd name="connsiteY46" fmla="*/ 193402 h 577432"/>
              <a:gd name="connsiteX47" fmla="*/ 261050 w 522989"/>
              <a:gd name="connsiteY47" fmla="*/ 167622 h 577432"/>
              <a:gd name="connsiteX48" fmla="*/ 261034 w 522989"/>
              <a:gd name="connsiteY48" fmla="*/ 133592 h 577432"/>
              <a:gd name="connsiteX49" fmla="*/ 130076 w 522989"/>
              <a:gd name="connsiteY49" fmla="*/ 258825 h 577432"/>
              <a:gd name="connsiteX50" fmla="*/ 165121 w 522989"/>
              <a:gd name="connsiteY50" fmla="*/ 356433 h 577432"/>
              <a:gd name="connsiteX51" fmla="*/ 190022 w 522989"/>
              <a:gd name="connsiteY51" fmla="*/ 418129 h 577432"/>
              <a:gd name="connsiteX52" fmla="*/ 206622 w 522989"/>
              <a:gd name="connsiteY52" fmla="*/ 442070 h 577432"/>
              <a:gd name="connsiteX53" fmla="*/ 315446 w 522989"/>
              <a:gd name="connsiteY53" fmla="*/ 442070 h 577432"/>
              <a:gd name="connsiteX54" fmla="*/ 332046 w 522989"/>
              <a:gd name="connsiteY54" fmla="*/ 418129 h 577432"/>
              <a:gd name="connsiteX55" fmla="*/ 357869 w 522989"/>
              <a:gd name="connsiteY55" fmla="*/ 357354 h 577432"/>
              <a:gd name="connsiteX56" fmla="*/ 392914 w 522989"/>
              <a:gd name="connsiteY56" fmla="*/ 258825 h 577432"/>
              <a:gd name="connsiteX57" fmla="*/ 261034 w 522989"/>
              <a:gd name="connsiteY57" fmla="*/ 133592 h 577432"/>
              <a:gd name="connsiteX58" fmla="*/ 472281 w 522989"/>
              <a:gd name="connsiteY58" fmla="*/ 126151 h 577432"/>
              <a:gd name="connsiteX59" fmla="*/ 487969 w 522989"/>
              <a:gd name="connsiteY59" fmla="*/ 130757 h 577432"/>
              <a:gd name="connsiteX60" fmla="*/ 483355 w 522989"/>
              <a:gd name="connsiteY60" fmla="*/ 145498 h 577432"/>
              <a:gd name="connsiteX61" fmla="*/ 454749 w 522989"/>
              <a:gd name="connsiteY61" fmla="*/ 162081 h 577432"/>
              <a:gd name="connsiteX62" fmla="*/ 449212 w 522989"/>
              <a:gd name="connsiteY62" fmla="*/ 163924 h 577432"/>
              <a:gd name="connsiteX63" fmla="*/ 439984 w 522989"/>
              <a:gd name="connsiteY63" fmla="*/ 158396 h 577432"/>
              <a:gd name="connsiteX64" fmla="*/ 443675 w 522989"/>
              <a:gd name="connsiteY64" fmla="*/ 142734 h 577432"/>
              <a:gd name="connsiteX65" fmla="*/ 49796 w 522989"/>
              <a:gd name="connsiteY65" fmla="*/ 126151 h 577432"/>
              <a:gd name="connsiteX66" fmla="*/ 79344 w 522989"/>
              <a:gd name="connsiteY66" fmla="*/ 142734 h 577432"/>
              <a:gd name="connsiteX67" fmla="*/ 83038 w 522989"/>
              <a:gd name="connsiteY67" fmla="*/ 158396 h 577432"/>
              <a:gd name="connsiteX68" fmla="*/ 73804 w 522989"/>
              <a:gd name="connsiteY68" fmla="*/ 163924 h 577432"/>
              <a:gd name="connsiteX69" fmla="*/ 68264 w 522989"/>
              <a:gd name="connsiteY69" fmla="*/ 162081 h 577432"/>
              <a:gd name="connsiteX70" fmla="*/ 38716 w 522989"/>
              <a:gd name="connsiteY70" fmla="*/ 145498 h 577432"/>
              <a:gd name="connsiteX71" fmla="*/ 35022 w 522989"/>
              <a:gd name="connsiteY71" fmla="*/ 130757 h 577432"/>
              <a:gd name="connsiteX72" fmla="*/ 49796 w 522989"/>
              <a:gd name="connsiteY72" fmla="*/ 126151 h 577432"/>
              <a:gd name="connsiteX73" fmla="*/ 261034 w 522989"/>
              <a:gd name="connsiteY73" fmla="*/ 88472 h 577432"/>
              <a:gd name="connsiteX74" fmla="*/ 437181 w 522989"/>
              <a:gd name="connsiteY74" fmla="*/ 258825 h 577432"/>
              <a:gd name="connsiteX75" fmla="*/ 394758 w 522989"/>
              <a:gd name="connsiteY75" fmla="*/ 382217 h 577432"/>
              <a:gd name="connsiteX76" fmla="*/ 377236 w 522989"/>
              <a:gd name="connsiteY76" fmla="*/ 418129 h 577432"/>
              <a:gd name="connsiteX77" fmla="*/ 344035 w 522989"/>
              <a:gd name="connsiteY77" fmla="*/ 476141 h 577432"/>
              <a:gd name="connsiteX78" fmla="*/ 341268 w 522989"/>
              <a:gd name="connsiteY78" fmla="*/ 521262 h 577432"/>
              <a:gd name="connsiteX79" fmla="*/ 305301 w 522989"/>
              <a:gd name="connsiteY79" fmla="*/ 559016 h 577432"/>
              <a:gd name="connsiteX80" fmla="*/ 290545 w 522989"/>
              <a:gd name="connsiteY80" fmla="*/ 573749 h 577432"/>
              <a:gd name="connsiteX81" fmla="*/ 278556 w 522989"/>
              <a:gd name="connsiteY81" fmla="*/ 577432 h 577432"/>
              <a:gd name="connsiteX82" fmla="*/ 244434 w 522989"/>
              <a:gd name="connsiteY82" fmla="*/ 577432 h 577432"/>
              <a:gd name="connsiteX83" fmla="*/ 231522 w 522989"/>
              <a:gd name="connsiteY83" fmla="*/ 573749 h 577432"/>
              <a:gd name="connsiteX84" fmla="*/ 217689 w 522989"/>
              <a:gd name="connsiteY84" fmla="*/ 559016 h 577432"/>
              <a:gd name="connsiteX85" fmla="*/ 180799 w 522989"/>
              <a:gd name="connsiteY85" fmla="*/ 521262 h 577432"/>
              <a:gd name="connsiteX86" fmla="*/ 178955 w 522989"/>
              <a:gd name="connsiteY86" fmla="*/ 476141 h 577432"/>
              <a:gd name="connsiteX87" fmla="*/ 145754 w 522989"/>
              <a:gd name="connsiteY87" fmla="*/ 418129 h 577432"/>
              <a:gd name="connsiteX88" fmla="*/ 128232 w 522989"/>
              <a:gd name="connsiteY88" fmla="*/ 382217 h 577432"/>
              <a:gd name="connsiteX89" fmla="*/ 85809 w 522989"/>
              <a:gd name="connsiteY89" fmla="*/ 258825 h 577432"/>
              <a:gd name="connsiteX90" fmla="*/ 261034 w 522989"/>
              <a:gd name="connsiteY90" fmla="*/ 88472 h 577432"/>
              <a:gd name="connsiteX91" fmla="*/ 392070 w 522989"/>
              <a:gd name="connsiteY91" fmla="*/ 35016 h 577432"/>
              <a:gd name="connsiteX92" fmla="*/ 395762 w 522989"/>
              <a:gd name="connsiteY92" fmla="*/ 49759 h 577432"/>
              <a:gd name="connsiteX93" fmla="*/ 379147 w 522989"/>
              <a:gd name="connsiteY93" fmla="*/ 79244 h 577432"/>
              <a:gd name="connsiteX94" fmla="*/ 369917 w 522989"/>
              <a:gd name="connsiteY94" fmla="*/ 84773 h 577432"/>
              <a:gd name="connsiteX95" fmla="*/ 364378 w 522989"/>
              <a:gd name="connsiteY95" fmla="*/ 82930 h 577432"/>
              <a:gd name="connsiteX96" fmla="*/ 360686 w 522989"/>
              <a:gd name="connsiteY96" fmla="*/ 68187 h 577432"/>
              <a:gd name="connsiteX97" fmla="*/ 377301 w 522989"/>
              <a:gd name="connsiteY97" fmla="*/ 38702 h 577432"/>
              <a:gd name="connsiteX98" fmla="*/ 392070 w 522989"/>
              <a:gd name="connsiteY98" fmla="*/ 35016 h 577432"/>
              <a:gd name="connsiteX99" fmla="*/ 131042 w 522989"/>
              <a:gd name="connsiteY99" fmla="*/ 35016 h 577432"/>
              <a:gd name="connsiteX100" fmla="*/ 145759 w 522989"/>
              <a:gd name="connsiteY100" fmla="*/ 38702 h 577432"/>
              <a:gd name="connsiteX101" fmla="*/ 162317 w 522989"/>
              <a:gd name="connsiteY101" fmla="*/ 68187 h 577432"/>
              <a:gd name="connsiteX102" fmla="*/ 158637 w 522989"/>
              <a:gd name="connsiteY102" fmla="*/ 82930 h 577432"/>
              <a:gd name="connsiteX103" fmla="*/ 153118 w 522989"/>
              <a:gd name="connsiteY103" fmla="*/ 84773 h 577432"/>
              <a:gd name="connsiteX104" fmla="*/ 143000 w 522989"/>
              <a:gd name="connsiteY104" fmla="*/ 79244 h 577432"/>
              <a:gd name="connsiteX105" fmla="*/ 126443 w 522989"/>
              <a:gd name="connsiteY105" fmla="*/ 49759 h 577432"/>
              <a:gd name="connsiteX106" fmla="*/ 131042 w 522989"/>
              <a:gd name="connsiteY106" fmla="*/ 35016 h 577432"/>
              <a:gd name="connsiteX107" fmla="*/ 261051 w 522989"/>
              <a:gd name="connsiteY107" fmla="*/ 0 h 577432"/>
              <a:gd name="connsiteX108" fmla="*/ 272073 w 522989"/>
              <a:gd name="connsiteY108" fmla="*/ 11037 h 577432"/>
              <a:gd name="connsiteX109" fmla="*/ 272073 w 522989"/>
              <a:gd name="connsiteY109" fmla="*/ 44147 h 577432"/>
              <a:gd name="connsiteX110" fmla="*/ 261051 w 522989"/>
              <a:gd name="connsiteY110" fmla="*/ 55184 h 577432"/>
              <a:gd name="connsiteX111" fmla="*/ 250029 w 522989"/>
              <a:gd name="connsiteY111" fmla="*/ 44147 h 577432"/>
              <a:gd name="connsiteX112" fmla="*/ 250029 w 522989"/>
              <a:gd name="connsiteY112" fmla="*/ 11037 h 577432"/>
              <a:gd name="connsiteX113" fmla="*/ 261051 w 522989"/>
              <a:gd name="connsiteY113" fmla="*/ 0 h 57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522989" h="577432">
                <a:moveTo>
                  <a:pt x="261051" y="362763"/>
                </a:moveTo>
                <a:cubicBezTo>
                  <a:pt x="276371" y="362763"/>
                  <a:pt x="288791" y="375149"/>
                  <a:pt x="288791" y="390429"/>
                </a:cubicBezTo>
                <a:cubicBezTo>
                  <a:pt x="288791" y="405709"/>
                  <a:pt x="276371" y="418095"/>
                  <a:pt x="261051" y="418095"/>
                </a:cubicBezTo>
                <a:cubicBezTo>
                  <a:pt x="245731" y="418095"/>
                  <a:pt x="233311" y="405709"/>
                  <a:pt x="233311" y="390429"/>
                </a:cubicBezTo>
                <a:cubicBezTo>
                  <a:pt x="233311" y="375149"/>
                  <a:pt x="245731" y="362763"/>
                  <a:pt x="261051" y="362763"/>
                </a:cubicBezTo>
                <a:close/>
                <a:moveTo>
                  <a:pt x="446328" y="358474"/>
                </a:moveTo>
                <a:cubicBezTo>
                  <a:pt x="448981" y="357783"/>
                  <a:pt x="451980" y="358243"/>
                  <a:pt x="454749" y="360086"/>
                </a:cubicBezTo>
                <a:lnTo>
                  <a:pt x="483355" y="376670"/>
                </a:lnTo>
                <a:cubicBezTo>
                  <a:pt x="488891" y="379434"/>
                  <a:pt x="490737" y="385883"/>
                  <a:pt x="487969" y="391410"/>
                </a:cubicBezTo>
                <a:cubicBezTo>
                  <a:pt x="486123" y="395096"/>
                  <a:pt x="481509" y="396938"/>
                  <a:pt x="477818" y="396938"/>
                </a:cubicBezTo>
                <a:cubicBezTo>
                  <a:pt x="475973" y="396938"/>
                  <a:pt x="474127" y="396938"/>
                  <a:pt x="472281" y="395096"/>
                </a:cubicBezTo>
                <a:lnTo>
                  <a:pt x="443675" y="378512"/>
                </a:lnTo>
                <a:cubicBezTo>
                  <a:pt x="438139" y="375748"/>
                  <a:pt x="436293" y="369299"/>
                  <a:pt x="439984" y="363772"/>
                </a:cubicBezTo>
                <a:cubicBezTo>
                  <a:pt x="441368" y="361007"/>
                  <a:pt x="443675" y="359165"/>
                  <a:pt x="446328" y="358474"/>
                </a:cubicBezTo>
                <a:close/>
                <a:moveTo>
                  <a:pt x="76344" y="358474"/>
                </a:moveTo>
                <a:cubicBezTo>
                  <a:pt x="79114" y="359165"/>
                  <a:pt x="81653" y="361007"/>
                  <a:pt x="83038" y="363772"/>
                </a:cubicBezTo>
                <a:cubicBezTo>
                  <a:pt x="85808" y="369299"/>
                  <a:pt x="83961" y="375748"/>
                  <a:pt x="79344" y="378512"/>
                </a:cubicBezTo>
                <a:lnTo>
                  <a:pt x="49796" y="395096"/>
                </a:lnTo>
                <a:cubicBezTo>
                  <a:pt x="47949" y="396938"/>
                  <a:pt x="46103" y="396938"/>
                  <a:pt x="44256" y="396938"/>
                </a:cubicBezTo>
                <a:cubicBezTo>
                  <a:pt x="40562" y="396938"/>
                  <a:pt x="36869" y="395096"/>
                  <a:pt x="35022" y="391410"/>
                </a:cubicBezTo>
                <a:cubicBezTo>
                  <a:pt x="32252" y="385883"/>
                  <a:pt x="34099" y="379434"/>
                  <a:pt x="38716" y="376670"/>
                </a:cubicBezTo>
                <a:lnTo>
                  <a:pt x="68264" y="360086"/>
                </a:lnTo>
                <a:cubicBezTo>
                  <a:pt x="70573" y="358243"/>
                  <a:pt x="73574" y="357783"/>
                  <a:pt x="76344" y="358474"/>
                </a:cubicBezTo>
                <a:close/>
                <a:moveTo>
                  <a:pt x="478723" y="249584"/>
                </a:moveTo>
                <a:lnTo>
                  <a:pt x="511923" y="249584"/>
                </a:lnTo>
                <a:cubicBezTo>
                  <a:pt x="517456" y="249584"/>
                  <a:pt x="522989" y="255095"/>
                  <a:pt x="522989" y="260606"/>
                </a:cubicBezTo>
                <a:cubicBezTo>
                  <a:pt x="522989" y="267035"/>
                  <a:pt x="517456" y="271628"/>
                  <a:pt x="511923" y="271628"/>
                </a:cubicBezTo>
                <a:lnTo>
                  <a:pt x="478723" y="271628"/>
                </a:lnTo>
                <a:cubicBezTo>
                  <a:pt x="472268" y="271628"/>
                  <a:pt x="467657" y="267035"/>
                  <a:pt x="467657" y="260606"/>
                </a:cubicBezTo>
                <a:cubicBezTo>
                  <a:pt x="467657" y="255095"/>
                  <a:pt x="472268" y="249584"/>
                  <a:pt x="478723" y="249584"/>
                </a:cubicBezTo>
                <a:close/>
                <a:moveTo>
                  <a:pt x="11066" y="249584"/>
                </a:moveTo>
                <a:lnTo>
                  <a:pt x="44266" y="249584"/>
                </a:lnTo>
                <a:cubicBezTo>
                  <a:pt x="50721" y="249584"/>
                  <a:pt x="55332" y="255095"/>
                  <a:pt x="55332" y="260606"/>
                </a:cubicBezTo>
                <a:cubicBezTo>
                  <a:pt x="55332" y="267035"/>
                  <a:pt x="50721" y="271628"/>
                  <a:pt x="44266" y="271628"/>
                </a:cubicBezTo>
                <a:lnTo>
                  <a:pt x="11066" y="271628"/>
                </a:lnTo>
                <a:cubicBezTo>
                  <a:pt x="4611" y="271628"/>
                  <a:pt x="0" y="267035"/>
                  <a:pt x="0" y="260606"/>
                </a:cubicBezTo>
                <a:cubicBezTo>
                  <a:pt x="0" y="255095"/>
                  <a:pt x="4611" y="249584"/>
                  <a:pt x="11066" y="249584"/>
                </a:cubicBezTo>
                <a:close/>
                <a:moveTo>
                  <a:pt x="261050" y="167622"/>
                </a:moveTo>
                <a:cubicBezTo>
                  <a:pt x="278546" y="167622"/>
                  <a:pt x="287754" y="176829"/>
                  <a:pt x="287754" y="193402"/>
                </a:cubicBezTo>
                <a:lnTo>
                  <a:pt x="287754" y="232993"/>
                </a:lnTo>
                <a:cubicBezTo>
                  <a:pt x="287754" y="237597"/>
                  <a:pt x="287754" y="243121"/>
                  <a:pt x="286833" y="248645"/>
                </a:cubicBezTo>
                <a:lnTo>
                  <a:pt x="276704" y="327828"/>
                </a:lnTo>
                <a:cubicBezTo>
                  <a:pt x="274862" y="337956"/>
                  <a:pt x="270258" y="340718"/>
                  <a:pt x="261050" y="340718"/>
                </a:cubicBezTo>
                <a:cubicBezTo>
                  <a:pt x="252763" y="340718"/>
                  <a:pt x="248158" y="337956"/>
                  <a:pt x="246317" y="327828"/>
                </a:cubicBezTo>
                <a:lnTo>
                  <a:pt x="236188" y="248645"/>
                </a:lnTo>
                <a:cubicBezTo>
                  <a:pt x="235267" y="243121"/>
                  <a:pt x="234346" y="237597"/>
                  <a:pt x="234346" y="232993"/>
                </a:cubicBezTo>
                <a:lnTo>
                  <a:pt x="234346" y="193402"/>
                </a:lnTo>
                <a:cubicBezTo>
                  <a:pt x="234346" y="176829"/>
                  <a:pt x="244475" y="167622"/>
                  <a:pt x="261050" y="167622"/>
                </a:cubicBezTo>
                <a:close/>
                <a:moveTo>
                  <a:pt x="261034" y="133592"/>
                </a:moveTo>
                <a:cubicBezTo>
                  <a:pt x="189099" y="133592"/>
                  <a:pt x="130076" y="189763"/>
                  <a:pt x="130076" y="258825"/>
                </a:cubicBezTo>
                <a:cubicBezTo>
                  <a:pt x="130076" y="305787"/>
                  <a:pt x="148521" y="332491"/>
                  <a:pt x="165121" y="356433"/>
                </a:cubicBezTo>
                <a:cubicBezTo>
                  <a:pt x="178033" y="375771"/>
                  <a:pt x="190022" y="394187"/>
                  <a:pt x="190022" y="418129"/>
                </a:cubicBezTo>
                <a:cubicBezTo>
                  <a:pt x="190022" y="428258"/>
                  <a:pt x="200166" y="437466"/>
                  <a:pt x="206622" y="442070"/>
                </a:cubicBezTo>
                <a:lnTo>
                  <a:pt x="315446" y="442070"/>
                </a:lnTo>
                <a:cubicBezTo>
                  <a:pt x="322824" y="436545"/>
                  <a:pt x="332046" y="428258"/>
                  <a:pt x="332046" y="418129"/>
                </a:cubicBezTo>
                <a:cubicBezTo>
                  <a:pt x="332046" y="394187"/>
                  <a:pt x="344957" y="375771"/>
                  <a:pt x="357869" y="357354"/>
                </a:cubicBezTo>
                <a:cubicBezTo>
                  <a:pt x="374469" y="332491"/>
                  <a:pt x="392914" y="305787"/>
                  <a:pt x="392914" y="258825"/>
                </a:cubicBezTo>
                <a:cubicBezTo>
                  <a:pt x="392914" y="189763"/>
                  <a:pt x="333891" y="133592"/>
                  <a:pt x="261034" y="133592"/>
                </a:cubicBezTo>
                <a:close/>
                <a:moveTo>
                  <a:pt x="472281" y="126151"/>
                </a:moveTo>
                <a:cubicBezTo>
                  <a:pt x="477818" y="123387"/>
                  <a:pt x="484278" y="125229"/>
                  <a:pt x="487969" y="130757"/>
                </a:cubicBezTo>
                <a:cubicBezTo>
                  <a:pt x="490737" y="135364"/>
                  <a:pt x="488891" y="142734"/>
                  <a:pt x="483355" y="145498"/>
                </a:cubicBezTo>
                <a:lnTo>
                  <a:pt x="454749" y="162081"/>
                </a:lnTo>
                <a:cubicBezTo>
                  <a:pt x="452903" y="163002"/>
                  <a:pt x="451057" y="163924"/>
                  <a:pt x="449212" y="163924"/>
                </a:cubicBezTo>
                <a:cubicBezTo>
                  <a:pt x="445521" y="163924"/>
                  <a:pt x="441830" y="162081"/>
                  <a:pt x="439984" y="158396"/>
                </a:cubicBezTo>
                <a:cubicBezTo>
                  <a:pt x="436293" y="152868"/>
                  <a:pt x="438139" y="146419"/>
                  <a:pt x="443675" y="142734"/>
                </a:cubicBezTo>
                <a:close/>
                <a:moveTo>
                  <a:pt x="49796" y="126151"/>
                </a:moveTo>
                <a:lnTo>
                  <a:pt x="79344" y="142734"/>
                </a:lnTo>
                <a:cubicBezTo>
                  <a:pt x="83961" y="146419"/>
                  <a:pt x="85808" y="152868"/>
                  <a:pt x="83038" y="158396"/>
                </a:cubicBezTo>
                <a:cubicBezTo>
                  <a:pt x="81191" y="162081"/>
                  <a:pt x="77498" y="163924"/>
                  <a:pt x="73804" y="163924"/>
                </a:cubicBezTo>
                <a:cubicBezTo>
                  <a:pt x="71957" y="163924"/>
                  <a:pt x="70111" y="163002"/>
                  <a:pt x="68264" y="162081"/>
                </a:cubicBezTo>
                <a:lnTo>
                  <a:pt x="38716" y="145498"/>
                </a:lnTo>
                <a:cubicBezTo>
                  <a:pt x="34099" y="142734"/>
                  <a:pt x="32252" y="135364"/>
                  <a:pt x="35022" y="130757"/>
                </a:cubicBezTo>
                <a:cubicBezTo>
                  <a:pt x="37792" y="125229"/>
                  <a:pt x="45179" y="123387"/>
                  <a:pt x="49796" y="126151"/>
                </a:cubicBezTo>
                <a:close/>
                <a:moveTo>
                  <a:pt x="261034" y="88472"/>
                </a:moveTo>
                <a:cubicBezTo>
                  <a:pt x="357869" y="88472"/>
                  <a:pt x="437181" y="164901"/>
                  <a:pt x="437181" y="258825"/>
                </a:cubicBezTo>
                <a:cubicBezTo>
                  <a:pt x="437181" y="319600"/>
                  <a:pt x="412281" y="355512"/>
                  <a:pt x="394758" y="382217"/>
                </a:cubicBezTo>
                <a:cubicBezTo>
                  <a:pt x="382769" y="398791"/>
                  <a:pt x="377236" y="408000"/>
                  <a:pt x="377236" y="418129"/>
                </a:cubicBezTo>
                <a:cubicBezTo>
                  <a:pt x="377236" y="440229"/>
                  <a:pt x="365247" y="460487"/>
                  <a:pt x="344035" y="476141"/>
                </a:cubicBezTo>
                <a:cubicBezTo>
                  <a:pt x="343113" y="489033"/>
                  <a:pt x="341268" y="521262"/>
                  <a:pt x="341268" y="521262"/>
                </a:cubicBezTo>
                <a:cubicBezTo>
                  <a:pt x="341268" y="529549"/>
                  <a:pt x="336657" y="548887"/>
                  <a:pt x="305301" y="559016"/>
                </a:cubicBezTo>
                <a:cubicBezTo>
                  <a:pt x="301612" y="564541"/>
                  <a:pt x="297001" y="569145"/>
                  <a:pt x="290545" y="573749"/>
                </a:cubicBezTo>
                <a:cubicBezTo>
                  <a:pt x="286856" y="575591"/>
                  <a:pt x="283168" y="577432"/>
                  <a:pt x="278556" y="577432"/>
                </a:cubicBezTo>
                <a:lnTo>
                  <a:pt x="244434" y="577432"/>
                </a:lnTo>
                <a:cubicBezTo>
                  <a:pt x="239822" y="577432"/>
                  <a:pt x="235211" y="575591"/>
                  <a:pt x="231522" y="573749"/>
                </a:cubicBezTo>
                <a:cubicBezTo>
                  <a:pt x="225989" y="569145"/>
                  <a:pt x="221378" y="564541"/>
                  <a:pt x="217689" y="559016"/>
                </a:cubicBezTo>
                <a:cubicBezTo>
                  <a:pt x="186333" y="548887"/>
                  <a:pt x="181722" y="530470"/>
                  <a:pt x="180799" y="521262"/>
                </a:cubicBezTo>
                <a:cubicBezTo>
                  <a:pt x="180799" y="521262"/>
                  <a:pt x="178955" y="489033"/>
                  <a:pt x="178955" y="476141"/>
                </a:cubicBezTo>
                <a:cubicBezTo>
                  <a:pt x="157743" y="460487"/>
                  <a:pt x="145754" y="440229"/>
                  <a:pt x="145754" y="418129"/>
                </a:cubicBezTo>
                <a:cubicBezTo>
                  <a:pt x="145754" y="408000"/>
                  <a:pt x="139299" y="398791"/>
                  <a:pt x="128232" y="382217"/>
                </a:cubicBezTo>
                <a:cubicBezTo>
                  <a:pt x="109787" y="355512"/>
                  <a:pt x="85809" y="319600"/>
                  <a:pt x="85809" y="258825"/>
                </a:cubicBezTo>
                <a:cubicBezTo>
                  <a:pt x="85809" y="164901"/>
                  <a:pt x="164199" y="88472"/>
                  <a:pt x="261034" y="88472"/>
                </a:cubicBezTo>
                <a:close/>
                <a:moveTo>
                  <a:pt x="392070" y="35016"/>
                </a:moveTo>
                <a:cubicBezTo>
                  <a:pt x="397608" y="37780"/>
                  <a:pt x="399454" y="45152"/>
                  <a:pt x="395762" y="49759"/>
                </a:cubicBezTo>
                <a:lnTo>
                  <a:pt x="379147" y="79244"/>
                </a:lnTo>
                <a:cubicBezTo>
                  <a:pt x="377301" y="82930"/>
                  <a:pt x="373609" y="84773"/>
                  <a:pt x="369917" y="84773"/>
                </a:cubicBezTo>
                <a:cubicBezTo>
                  <a:pt x="368071" y="84773"/>
                  <a:pt x="366224" y="83851"/>
                  <a:pt x="364378" y="82930"/>
                </a:cubicBezTo>
                <a:cubicBezTo>
                  <a:pt x="358840" y="80166"/>
                  <a:pt x="356994" y="72794"/>
                  <a:pt x="360686" y="68187"/>
                </a:cubicBezTo>
                <a:lnTo>
                  <a:pt x="377301" y="38702"/>
                </a:lnTo>
                <a:cubicBezTo>
                  <a:pt x="380070" y="34095"/>
                  <a:pt x="386531" y="32252"/>
                  <a:pt x="392070" y="35016"/>
                </a:cubicBezTo>
                <a:close/>
                <a:moveTo>
                  <a:pt x="131042" y="35016"/>
                </a:moveTo>
                <a:cubicBezTo>
                  <a:pt x="135641" y="32252"/>
                  <a:pt x="143000" y="34095"/>
                  <a:pt x="145759" y="38702"/>
                </a:cubicBezTo>
                <a:lnTo>
                  <a:pt x="162317" y="68187"/>
                </a:lnTo>
                <a:cubicBezTo>
                  <a:pt x="165996" y="72794"/>
                  <a:pt x="164156" y="80166"/>
                  <a:pt x="158637" y="82930"/>
                </a:cubicBezTo>
                <a:cubicBezTo>
                  <a:pt x="156798" y="83851"/>
                  <a:pt x="154958" y="84773"/>
                  <a:pt x="153118" y="84773"/>
                </a:cubicBezTo>
                <a:cubicBezTo>
                  <a:pt x="149439" y="84773"/>
                  <a:pt x="145759" y="82930"/>
                  <a:pt x="143000" y="79244"/>
                </a:cubicBezTo>
                <a:lnTo>
                  <a:pt x="126443" y="49759"/>
                </a:lnTo>
                <a:cubicBezTo>
                  <a:pt x="123683" y="45152"/>
                  <a:pt x="125523" y="37780"/>
                  <a:pt x="131042" y="35016"/>
                </a:cubicBezTo>
                <a:close/>
                <a:moveTo>
                  <a:pt x="261051" y="0"/>
                </a:moveTo>
                <a:cubicBezTo>
                  <a:pt x="267480" y="0"/>
                  <a:pt x="272073" y="4598"/>
                  <a:pt x="272073" y="11037"/>
                </a:cubicBezTo>
                <a:lnTo>
                  <a:pt x="272073" y="44147"/>
                </a:lnTo>
                <a:cubicBezTo>
                  <a:pt x="272073" y="50585"/>
                  <a:pt x="267480" y="55184"/>
                  <a:pt x="261051" y="55184"/>
                </a:cubicBezTo>
                <a:cubicBezTo>
                  <a:pt x="255540" y="55184"/>
                  <a:pt x="250029" y="50585"/>
                  <a:pt x="250029" y="44147"/>
                </a:cubicBezTo>
                <a:lnTo>
                  <a:pt x="250029" y="11037"/>
                </a:lnTo>
                <a:cubicBezTo>
                  <a:pt x="250029" y="4598"/>
                  <a:pt x="255540" y="0"/>
                  <a:pt x="26105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</p:sp>
      <p:cxnSp>
        <p:nvCxnSpPr>
          <p:cNvPr id="163" name="直接连接符 162"/>
          <p:cNvCxnSpPr/>
          <p:nvPr userDrawn="1"/>
        </p:nvCxnSpPr>
        <p:spPr>
          <a:xfrm>
            <a:off x="0" y="5587999"/>
            <a:ext cx="9271000" cy="0"/>
          </a:xfrm>
          <a:prstGeom prst="line">
            <a:avLst/>
          </a:prstGeom>
          <a:ln w="25400">
            <a:solidFill>
              <a:srgbClr val="FC6D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直接连接符 164"/>
          <p:cNvCxnSpPr/>
          <p:nvPr userDrawn="1"/>
        </p:nvCxnSpPr>
        <p:spPr>
          <a:xfrm>
            <a:off x="11045371" y="5587999"/>
            <a:ext cx="1146629" cy="0"/>
          </a:xfrm>
          <a:prstGeom prst="line">
            <a:avLst/>
          </a:prstGeom>
          <a:ln w="25400">
            <a:solidFill>
              <a:srgbClr val="FC6D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762500" y="2640209"/>
            <a:ext cx="4037453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4763616" y="3535559"/>
            <a:ext cx="403745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  <p:grpSp>
        <p:nvGrpSpPr>
          <p:cNvPr id="10" name="组合 9"/>
          <p:cNvGrpSpPr/>
          <p:nvPr userDrawn="1"/>
        </p:nvGrpSpPr>
        <p:grpSpPr>
          <a:xfrm>
            <a:off x="9057977" y="2125144"/>
            <a:ext cx="2346624" cy="3533883"/>
            <a:chOff x="9096076" y="2364844"/>
            <a:chExt cx="2439849" cy="3674275"/>
          </a:xfrm>
        </p:grpSpPr>
        <p:sp>
          <p:nvSpPr>
            <p:cNvPr id="11" name="î$ļîďè"/>
            <p:cNvSpPr/>
            <p:nvPr userDrawn="1"/>
          </p:nvSpPr>
          <p:spPr bwMode="auto">
            <a:xfrm>
              <a:off x="10134735" y="2928583"/>
              <a:ext cx="170390" cy="213894"/>
            </a:xfrm>
            <a:custGeom>
              <a:avLst/>
              <a:gdLst>
                <a:gd name="T0" fmla="*/ 94 w 94"/>
                <a:gd name="T1" fmla="*/ 114 h 118"/>
                <a:gd name="T2" fmla="*/ 90 w 94"/>
                <a:gd name="T3" fmla="*/ 0 h 118"/>
                <a:gd name="T4" fmla="*/ 0 w 94"/>
                <a:gd name="T5" fmla="*/ 4 h 118"/>
                <a:gd name="T6" fmla="*/ 4 w 94"/>
                <a:gd name="T7" fmla="*/ 118 h 118"/>
                <a:gd name="T8" fmla="*/ 94 w 94"/>
                <a:gd name="T9" fmla="*/ 11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118">
                  <a:moveTo>
                    <a:pt x="94" y="114"/>
                  </a:moveTo>
                  <a:lnTo>
                    <a:pt x="90" y="0"/>
                  </a:lnTo>
                  <a:lnTo>
                    <a:pt x="0" y="4"/>
                  </a:lnTo>
                  <a:lnTo>
                    <a:pt x="4" y="118"/>
                  </a:lnTo>
                  <a:lnTo>
                    <a:pt x="94" y="114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2" name="ïśḻîḍe"/>
            <p:cNvSpPr/>
            <p:nvPr userDrawn="1"/>
          </p:nvSpPr>
          <p:spPr bwMode="auto">
            <a:xfrm>
              <a:off x="10134735" y="2928583"/>
              <a:ext cx="170390" cy="213894"/>
            </a:xfrm>
            <a:custGeom>
              <a:avLst/>
              <a:gdLst>
                <a:gd name="T0" fmla="*/ 94 w 94"/>
                <a:gd name="T1" fmla="*/ 114 h 118"/>
                <a:gd name="T2" fmla="*/ 90 w 94"/>
                <a:gd name="T3" fmla="*/ 0 h 118"/>
                <a:gd name="T4" fmla="*/ 0 w 94"/>
                <a:gd name="T5" fmla="*/ 4 h 118"/>
                <a:gd name="T6" fmla="*/ 4 w 94"/>
                <a:gd name="T7" fmla="*/ 118 h 118"/>
                <a:gd name="T8" fmla="*/ 94 w 94"/>
                <a:gd name="T9" fmla="*/ 114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118">
                  <a:moveTo>
                    <a:pt x="94" y="114"/>
                  </a:moveTo>
                  <a:lnTo>
                    <a:pt x="90" y="0"/>
                  </a:lnTo>
                  <a:lnTo>
                    <a:pt x="0" y="4"/>
                  </a:lnTo>
                  <a:lnTo>
                    <a:pt x="4" y="118"/>
                  </a:lnTo>
                  <a:lnTo>
                    <a:pt x="94" y="11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3" name="îS1iďè"/>
            <p:cNvSpPr/>
            <p:nvPr userDrawn="1"/>
          </p:nvSpPr>
          <p:spPr bwMode="auto">
            <a:xfrm>
              <a:off x="10301500" y="2957585"/>
              <a:ext cx="0" cy="76131"/>
            </a:xfrm>
            <a:custGeom>
              <a:avLst/>
              <a:gdLst>
                <a:gd name="T0" fmla="*/ 0 h 22"/>
                <a:gd name="T1" fmla="*/ 22 h 22"/>
                <a:gd name="T2" fmla="*/ 22 h 22"/>
                <a:gd name="T3" fmla="*/ 0 h 2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2">
                  <a:moveTo>
                    <a:pt x="0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5D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" name="ïṩlídé"/>
            <p:cNvSpPr/>
            <p:nvPr userDrawn="1"/>
          </p:nvSpPr>
          <p:spPr bwMode="auto">
            <a:xfrm>
              <a:off x="10134735" y="2943084"/>
              <a:ext cx="166765" cy="94259"/>
            </a:xfrm>
            <a:custGeom>
              <a:avLst/>
              <a:gdLst>
                <a:gd name="T0" fmla="*/ 0 w 48"/>
                <a:gd name="T1" fmla="*/ 0 h 27"/>
                <a:gd name="T2" fmla="*/ 1 w 48"/>
                <a:gd name="T3" fmla="*/ 23 h 27"/>
                <a:gd name="T4" fmla="*/ 27 w 48"/>
                <a:gd name="T5" fmla="*/ 27 h 27"/>
                <a:gd name="T6" fmla="*/ 48 w 48"/>
                <a:gd name="T7" fmla="*/ 26 h 27"/>
                <a:gd name="T8" fmla="*/ 48 w 48"/>
                <a:gd name="T9" fmla="*/ 4 h 27"/>
                <a:gd name="T10" fmla="*/ 0 w 48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27">
                  <a:moveTo>
                    <a:pt x="0" y="0"/>
                  </a:moveTo>
                  <a:cubicBezTo>
                    <a:pt x="1" y="23"/>
                    <a:pt x="1" y="23"/>
                    <a:pt x="1" y="23"/>
                  </a:cubicBezTo>
                  <a:cubicBezTo>
                    <a:pt x="3" y="26"/>
                    <a:pt x="16" y="27"/>
                    <a:pt x="27" y="27"/>
                  </a:cubicBezTo>
                  <a:cubicBezTo>
                    <a:pt x="38" y="27"/>
                    <a:pt x="48" y="26"/>
                    <a:pt x="48" y="26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15" name="ïṣľíḋè"/>
            <p:cNvSpPr/>
            <p:nvPr userDrawn="1"/>
          </p:nvSpPr>
          <p:spPr bwMode="auto">
            <a:xfrm>
              <a:off x="9998784" y="2486292"/>
              <a:ext cx="464042" cy="445916"/>
            </a:xfrm>
            <a:custGeom>
              <a:avLst/>
              <a:gdLst>
                <a:gd name="T0" fmla="*/ 126 w 133"/>
                <a:gd name="T1" fmla="*/ 79 h 128"/>
                <a:gd name="T2" fmla="*/ 122 w 133"/>
                <a:gd name="T3" fmla="*/ 96 h 128"/>
                <a:gd name="T4" fmla="*/ 111 w 133"/>
                <a:gd name="T5" fmla="*/ 115 h 128"/>
                <a:gd name="T6" fmla="*/ 106 w 133"/>
                <a:gd name="T7" fmla="*/ 122 h 128"/>
                <a:gd name="T8" fmla="*/ 96 w 133"/>
                <a:gd name="T9" fmla="*/ 125 h 128"/>
                <a:gd name="T10" fmla="*/ 53 w 133"/>
                <a:gd name="T11" fmla="*/ 127 h 128"/>
                <a:gd name="T12" fmla="*/ 37 w 133"/>
                <a:gd name="T13" fmla="*/ 124 h 128"/>
                <a:gd name="T14" fmla="*/ 20 w 133"/>
                <a:gd name="T15" fmla="*/ 115 h 128"/>
                <a:gd name="T16" fmla="*/ 11 w 133"/>
                <a:gd name="T17" fmla="*/ 108 h 128"/>
                <a:gd name="T18" fmla="*/ 2 w 133"/>
                <a:gd name="T19" fmla="*/ 91 h 128"/>
                <a:gd name="T20" fmla="*/ 0 w 133"/>
                <a:gd name="T21" fmla="*/ 70 h 128"/>
                <a:gd name="T22" fmla="*/ 1 w 133"/>
                <a:gd name="T23" fmla="*/ 47 h 128"/>
                <a:gd name="T24" fmla="*/ 13 w 133"/>
                <a:gd name="T25" fmla="*/ 17 h 128"/>
                <a:gd name="T26" fmla="*/ 34 w 133"/>
                <a:gd name="T27" fmla="*/ 3 h 128"/>
                <a:gd name="T28" fmla="*/ 49 w 133"/>
                <a:gd name="T29" fmla="*/ 1 h 128"/>
                <a:gd name="T30" fmla="*/ 68 w 133"/>
                <a:gd name="T31" fmla="*/ 0 h 128"/>
                <a:gd name="T32" fmla="*/ 87 w 133"/>
                <a:gd name="T33" fmla="*/ 5 h 128"/>
                <a:gd name="T34" fmla="*/ 114 w 133"/>
                <a:gd name="T35" fmla="*/ 17 h 128"/>
                <a:gd name="T36" fmla="*/ 133 w 133"/>
                <a:gd name="T37" fmla="*/ 40 h 128"/>
                <a:gd name="T38" fmla="*/ 130 w 133"/>
                <a:gd name="T39" fmla="*/ 59 h 128"/>
                <a:gd name="T40" fmla="*/ 126 w 133"/>
                <a:gd name="T41" fmla="*/ 7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3" h="128">
                  <a:moveTo>
                    <a:pt x="126" y="79"/>
                  </a:moveTo>
                  <a:cubicBezTo>
                    <a:pt x="125" y="85"/>
                    <a:pt x="124" y="91"/>
                    <a:pt x="122" y="96"/>
                  </a:cubicBezTo>
                  <a:cubicBezTo>
                    <a:pt x="120" y="103"/>
                    <a:pt x="116" y="109"/>
                    <a:pt x="111" y="115"/>
                  </a:cubicBezTo>
                  <a:cubicBezTo>
                    <a:pt x="110" y="118"/>
                    <a:pt x="108" y="120"/>
                    <a:pt x="106" y="122"/>
                  </a:cubicBezTo>
                  <a:cubicBezTo>
                    <a:pt x="103" y="124"/>
                    <a:pt x="100" y="124"/>
                    <a:pt x="96" y="125"/>
                  </a:cubicBezTo>
                  <a:cubicBezTo>
                    <a:pt x="82" y="128"/>
                    <a:pt x="67" y="128"/>
                    <a:pt x="53" y="127"/>
                  </a:cubicBezTo>
                  <a:cubicBezTo>
                    <a:pt x="47" y="127"/>
                    <a:pt x="42" y="126"/>
                    <a:pt x="37" y="124"/>
                  </a:cubicBezTo>
                  <a:cubicBezTo>
                    <a:pt x="31" y="122"/>
                    <a:pt x="25" y="119"/>
                    <a:pt x="20" y="115"/>
                  </a:cubicBezTo>
                  <a:cubicBezTo>
                    <a:pt x="17" y="113"/>
                    <a:pt x="13" y="111"/>
                    <a:pt x="11" y="108"/>
                  </a:cubicBezTo>
                  <a:cubicBezTo>
                    <a:pt x="6" y="104"/>
                    <a:pt x="3" y="97"/>
                    <a:pt x="2" y="91"/>
                  </a:cubicBezTo>
                  <a:cubicBezTo>
                    <a:pt x="1" y="84"/>
                    <a:pt x="1" y="77"/>
                    <a:pt x="0" y="70"/>
                  </a:cubicBezTo>
                  <a:cubicBezTo>
                    <a:pt x="0" y="63"/>
                    <a:pt x="0" y="55"/>
                    <a:pt x="1" y="47"/>
                  </a:cubicBezTo>
                  <a:cubicBezTo>
                    <a:pt x="2" y="36"/>
                    <a:pt x="6" y="26"/>
                    <a:pt x="13" y="17"/>
                  </a:cubicBezTo>
                  <a:cubicBezTo>
                    <a:pt x="19" y="11"/>
                    <a:pt x="26" y="5"/>
                    <a:pt x="34" y="3"/>
                  </a:cubicBezTo>
                  <a:cubicBezTo>
                    <a:pt x="39" y="1"/>
                    <a:pt x="44" y="1"/>
                    <a:pt x="49" y="1"/>
                  </a:cubicBezTo>
                  <a:cubicBezTo>
                    <a:pt x="55" y="0"/>
                    <a:pt x="61" y="0"/>
                    <a:pt x="68" y="0"/>
                  </a:cubicBezTo>
                  <a:cubicBezTo>
                    <a:pt x="74" y="1"/>
                    <a:pt x="81" y="3"/>
                    <a:pt x="87" y="5"/>
                  </a:cubicBezTo>
                  <a:cubicBezTo>
                    <a:pt x="96" y="8"/>
                    <a:pt x="106" y="11"/>
                    <a:pt x="114" y="17"/>
                  </a:cubicBezTo>
                  <a:cubicBezTo>
                    <a:pt x="121" y="21"/>
                    <a:pt x="132" y="31"/>
                    <a:pt x="133" y="40"/>
                  </a:cubicBezTo>
                  <a:cubicBezTo>
                    <a:pt x="133" y="46"/>
                    <a:pt x="131" y="53"/>
                    <a:pt x="130" y="59"/>
                  </a:cubicBezTo>
                  <a:cubicBezTo>
                    <a:pt x="128" y="66"/>
                    <a:pt x="127" y="72"/>
                    <a:pt x="126" y="7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" name="íṥļïḓè"/>
            <p:cNvSpPr/>
            <p:nvPr userDrawn="1"/>
          </p:nvSpPr>
          <p:spPr bwMode="auto">
            <a:xfrm>
              <a:off x="10192740" y="2399284"/>
              <a:ext cx="317216" cy="317217"/>
            </a:xfrm>
            <a:custGeom>
              <a:avLst/>
              <a:gdLst>
                <a:gd name="T0" fmla="*/ 1 w 91"/>
                <a:gd name="T1" fmla="*/ 45 h 91"/>
                <a:gd name="T2" fmla="*/ 44 w 91"/>
                <a:gd name="T3" fmla="*/ 91 h 91"/>
                <a:gd name="T4" fmla="*/ 90 w 91"/>
                <a:gd name="T5" fmla="*/ 47 h 91"/>
                <a:gd name="T6" fmla="*/ 47 w 91"/>
                <a:gd name="T7" fmla="*/ 1 h 91"/>
                <a:gd name="T8" fmla="*/ 1 w 91"/>
                <a:gd name="T9" fmla="*/ 45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1">
                  <a:moveTo>
                    <a:pt x="1" y="45"/>
                  </a:moveTo>
                  <a:cubicBezTo>
                    <a:pt x="0" y="69"/>
                    <a:pt x="20" y="90"/>
                    <a:pt x="44" y="91"/>
                  </a:cubicBezTo>
                  <a:cubicBezTo>
                    <a:pt x="69" y="91"/>
                    <a:pt x="90" y="72"/>
                    <a:pt x="90" y="47"/>
                  </a:cubicBezTo>
                  <a:cubicBezTo>
                    <a:pt x="91" y="22"/>
                    <a:pt x="71" y="2"/>
                    <a:pt x="47" y="1"/>
                  </a:cubicBezTo>
                  <a:cubicBezTo>
                    <a:pt x="22" y="0"/>
                    <a:pt x="1" y="20"/>
                    <a:pt x="1" y="4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" name="iṡ1ïḍe"/>
            <p:cNvSpPr/>
            <p:nvPr userDrawn="1"/>
          </p:nvSpPr>
          <p:spPr bwMode="auto">
            <a:xfrm>
              <a:off x="10054977" y="2364844"/>
              <a:ext cx="317216" cy="317217"/>
            </a:xfrm>
            <a:custGeom>
              <a:avLst/>
              <a:gdLst>
                <a:gd name="T0" fmla="*/ 1 w 91"/>
                <a:gd name="T1" fmla="*/ 44 h 91"/>
                <a:gd name="T2" fmla="*/ 45 w 91"/>
                <a:gd name="T3" fmla="*/ 90 h 91"/>
                <a:gd name="T4" fmla="*/ 91 w 91"/>
                <a:gd name="T5" fmla="*/ 47 h 91"/>
                <a:gd name="T6" fmla="*/ 47 w 91"/>
                <a:gd name="T7" fmla="*/ 1 h 91"/>
                <a:gd name="T8" fmla="*/ 1 w 91"/>
                <a:gd name="T9" fmla="*/ 4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1">
                  <a:moveTo>
                    <a:pt x="1" y="44"/>
                  </a:moveTo>
                  <a:cubicBezTo>
                    <a:pt x="0" y="69"/>
                    <a:pt x="20" y="90"/>
                    <a:pt x="45" y="90"/>
                  </a:cubicBezTo>
                  <a:cubicBezTo>
                    <a:pt x="70" y="91"/>
                    <a:pt x="90" y="72"/>
                    <a:pt x="91" y="47"/>
                  </a:cubicBezTo>
                  <a:cubicBezTo>
                    <a:pt x="91" y="22"/>
                    <a:pt x="72" y="1"/>
                    <a:pt x="47" y="1"/>
                  </a:cubicBezTo>
                  <a:cubicBezTo>
                    <a:pt x="22" y="0"/>
                    <a:pt x="2" y="20"/>
                    <a:pt x="1" y="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" name="ï$liḑè"/>
            <p:cNvSpPr/>
            <p:nvPr userDrawn="1"/>
          </p:nvSpPr>
          <p:spPr bwMode="auto">
            <a:xfrm>
              <a:off x="9949842" y="2393847"/>
              <a:ext cx="317216" cy="319029"/>
            </a:xfrm>
            <a:custGeom>
              <a:avLst/>
              <a:gdLst>
                <a:gd name="T0" fmla="*/ 1 w 91"/>
                <a:gd name="T1" fmla="*/ 45 h 92"/>
                <a:gd name="T2" fmla="*/ 44 w 91"/>
                <a:gd name="T3" fmla="*/ 91 h 92"/>
                <a:gd name="T4" fmla="*/ 91 w 91"/>
                <a:gd name="T5" fmla="*/ 47 h 92"/>
                <a:gd name="T6" fmla="*/ 47 w 91"/>
                <a:gd name="T7" fmla="*/ 1 h 92"/>
                <a:gd name="T8" fmla="*/ 1 w 91"/>
                <a:gd name="T9" fmla="*/ 4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" h="92">
                  <a:moveTo>
                    <a:pt x="1" y="45"/>
                  </a:moveTo>
                  <a:cubicBezTo>
                    <a:pt x="0" y="70"/>
                    <a:pt x="20" y="90"/>
                    <a:pt x="44" y="91"/>
                  </a:cubicBezTo>
                  <a:cubicBezTo>
                    <a:pt x="69" y="92"/>
                    <a:pt x="90" y="72"/>
                    <a:pt x="91" y="47"/>
                  </a:cubicBezTo>
                  <a:cubicBezTo>
                    <a:pt x="91" y="22"/>
                    <a:pt x="72" y="2"/>
                    <a:pt x="47" y="1"/>
                  </a:cubicBezTo>
                  <a:cubicBezTo>
                    <a:pt x="22" y="0"/>
                    <a:pt x="1" y="20"/>
                    <a:pt x="1" y="45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" name="îṥľiḓè"/>
            <p:cNvSpPr/>
            <p:nvPr userDrawn="1"/>
          </p:nvSpPr>
          <p:spPr bwMode="auto">
            <a:xfrm>
              <a:off x="10025975" y="2518921"/>
              <a:ext cx="391536" cy="500296"/>
            </a:xfrm>
            <a:custGeom>
              <a:avLst/>
              <a:gdLst>
                <a:gd name="T0" fmla="*/ 3 w 112"/>
                <a:gd name="T1" fmla="*/ 0 h 144"/>
                <a:gd name="T2" fmla="*/ 1 w 112"/>
                <a:gd name="T3" fmla="*/ 87 h 144"/>
                <a:gd name="T4" fmla="*/ 54 w 112"/>
                <a:gd name="T5" fmla="*/ 143 h 144"/>
                <a:gd name="T6" fmla="*/ 110 w 112"/>
                <a:gd name="T7" fmla="*/ 90 h 144"/>
                <a:gd name="T8" fmla="*/ 112 w 112"/>
                <a:gd name="T9" fmla="*/ 3 h 144"/>
                <a:gd name="T10" fmla="*/ 3 w 112"/>
                <a:gd name="T11" fmla="*/ 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2" h="144">
                  <a:moveTo>
                    <a:pt x="3" y="0"/>
                  </a:moveTo>
                  <a:cubicBezTo>
                    <a:pt x="1" y="87"/>
                    <a:pt x="1" y="87"/>
                    <a:pt x="1" y="87"/>
                  </a:cubicBezTo>
                  <a:cubicBezTo>
                    <a:pt x="0" y="117"/>
                    <a:pt x="24" y="142"/>
                    <a:pt x="54" y="143"/>
                  </a:cubicBezTo>
                  <a:cubicBezTo>
                    <a:pt x="84" y="144"/>
                    <a:pt x="109" y="120"/>
                    <a:pt x="110" y="90"/>
                  </a:cubicBezTo>
                  <a:cubicBezTo>
                    <a:pt x="112" y="3"/>
                    <a:pt x="112" y="3"/>
                    <a:pt x="112" y="3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2" name="í$1iḓè"/>
            <p:cNvSpPr/>
            <p:nvPr userDrawn="1"/>
          </p:nvSpPr>
          <p:spPr bwMode="auto">
            <a:xfrm>
              <a:off x="10011474" y="2671185"/>
              <a:ext cx="70694" cy="74320"/>
            </a:xfrm>
            <a:custGeom>
              <a:avLst/>
              <a:gdLst>
                <a:gd name="T0" fmla="*/ 0 w 20"/>
                <a:gd name="T1" fmla="*/ 10 h 21"/>
                <a:gd name="T2" fmla="*/ 10 w 20"/>
                <a:gd name="T3" fmla="*/ 20 h 21"/>
                <a:gd name="T4" fmla="*/ 20 w 20"/>
                <a:gd name="T5" fmla="*/ 11 h 21"/>
                <a:gd name="T6" fmla="*/ 10 w 20"/>
                <a:gd name="T7" fmla="*/ 0 h 21"/>
                <a:gd name="T8" fmla="*/ 0 w 20"/>
                <a:gd name="T9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1">
                  <a:moveTo>
                    <a:pt x="0" y="10"/>
                  </a:moveTo>
                  <a:cubicBezTo>
                    <a:pt x="0" y="16"/>
                    <a:pt x="4" y="20"/>
                    <a:pt x="10" y="20"/>
                  </a:cubicBezTo>
                  <a:cubicBezTo>
                    <a:pt x="15" y="21"/>
                    <a:pt x="20" y="16"/>
                    <a:pt x="20" y="11"/>
                  </a:cubicBezTo>
                  <a:cubicBezTo>
                    <a:pt x="20" y="5"/>
                    <a:pt x="16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3" name="iṩ1íḋê"/>
            <p:cNvSpPr/>
            <p:nvPr userDrawn="1"/>
          </p:nvSpPr>
          <p:spPr bwMode="auto">
            <a:xfrm>
              <a:off x="10377632" y="2647620"/>
              <a:ext cx="70694" cy="68881"/>
            </a:xfrm>
            <a:custGeom>
              <a:avLst/>
              <a:gdLst>
                <a:gd name="T0" fmla="*/ 0 w 20"/>
                <a:gd name="T1" fmla="*/ 10 h 20"/>
                <a:gd name="T2" fmla="*/ 10 w 20"/>
                <a:gd name="T3" fmla="*/ 20 h 20"/>
                <a:gd name="T4" fmla="*/ 20 w 20"/>
                <a:gd name="T5" fmla="*/ 10 h 20"/>
                <a:gd name="T6" fmla="*/ 11 w 20"/>
                <a:gd name="T7" fmla="*/ 0 h 20"/>
                <a:gd name="T8" fmla="*/ 0 w 20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0" y="10"/>
                  </a:moveTo>
                  <a:cubicBezTo>
                    <a:pt x="0" y="15"/>
                    <a:pt x="4" y="20"/>
                    <a:pt x="10" y="20"/>
                  </a:cubicBezTo>
                  <a:cubicBezTo>
                    <a:pt x="16" y="20"/>
                    <a:pt x="20" y="16"/>
                    <a:pt x="20" y="10"/>
                  </a:cubicBezTo>
                  <a:cubicBezTo>
                    <a:pt x="20" y="5"/>
                    <a:pt x="16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24" name="íŝlîḓè"/>
            <p:cNvSpPr/>
            <p:nvPr userDrawn="1"/>
          </p:nvSpPr>
          <p:spPr bwMode="auto">
            <a:xfrm>
              <a:off x="10036851" y="2518921"/>
              <a:ext cx="380659" cy="117824"/>
            </a:xfrm>
            <a:custGeom>
              <a:avLst/>
              <a:gdLst>
                <a:gd name="T0" fmla="*/ 0 w 109"/>
                <a:gd name="T1" fmla="*/ 0 h 34"/>
                <a:gd name="T2" fmla="*/ 0 w 109"/>
                <a:gd name="T3" fmla="*/ 28 h 34"/>
                <a:gd name="T4" fmla="*/ 40 w 109"/>
                <a:gd name="T5" fmla="*/ 4 h 34"/>
                <a:gd name="T6" fmla="*/ 109 w 109"/>
                <a:gd name="T7" fmla="*/ 27 h 34"/>
                <a:gd name="T8" fmla="*/ 109 w 109"/>
                <a:gd name="T9" fmla="*/ 3 h 34"/>
                <a:gd name="T10" fmla="*/ 0 w 109"/>
                <a:gd name="T11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" h="34">
                  <a:moveTo>
                    <a:pt x="0" y="0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29" y="34"/>
                    <a:pt x="40" y="4"/>
                    <a:pt x="40" y="4"/>
                  </a:cubicBezTo>
                  <a:cubicBezTo>
                    <a:pt x="61" y="28"/>
                    <a:pt x="92" y="29"/>
                    <a:pt x="109" y="27"/>
                  </a:cubicBezTo>
                  <a:cubicBezTo>
                    <a:pt x="109" y="3"/>
                    <a:pt x="109" y="3"/>
                    <a:pt x="109" y="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78A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5" name="íSḻiḍê"/>
            <p:cNvSpPr/>
            <p:nvPr userDrawn="1"/>
          </p:nvSpPr>
          <p:spPr bwMode="auto">
            <a:xfrm>
              <a:off x="9942592" y="2439163"/>
              <a:ext cx="516610" cy="201206"/>
            </a:xfrm>
            <a:custGeom>
              <a:avLst/>
              <a:gdLst>
                <a:gd name="T0" fmla="*/ 148 w 148"/>
                <a:gd name="T1" fmla="*/ 43 h 58"/>
                <a:gd name="T2" fmla="*/ 67 w 148"/>
                <a:gd name="T3" fmla="*/ 24 h 58"/>
                <a:gd name="T4" fmla="*/ 21 w 148"/>
                <a:gd name="T5" fmla="*/ 46 h 58"/>
                <a:gd name="T6" fmla="*/ 55 w 148"/>
                <a:gd name="T7" fmla="*/ 4 h 58"/>
                <a:gd name="T8" fmla="*/ 148 w 148"/>
                <a:gd name="T9" fmla="*/ 43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8" h="58">
                  <a:moveTo>
                    <a:pt x="148" y="43"/>
                  </a:moveTo>
                  <a:cubicBezTo>
                    <a:pt x="148" y="45"/>
                    <a:pt x="97" y="58"/>
                    <a:pt x="67" y="24"/>
                  </a:cubicBezTo>
                  <a:cubicBezTo>
                    <a:pt x="67" y="24"/>
                    <a:pt x="55" y="57"/>
                    <a:pt x="21" y="46"/>
                  </a:cubicBezTo>
                  <a:cubicBezTo>
                    <a:pt x="21" y="46"/>
                    <a:pt x="0" y="8"/>
                    <a:pt x="55" y="4"/>
                  </a:cubicBezTo>
                  <a:cubicBezTo>
                    <a:pt x="111" y="0"/>
                    <a:pt x="146" y="13"/>
                    <a:pt x="148" y="4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6" name="íŝḻiḓé"/>
            <p:cNvSpPr/>
            <p:nvPr userDrawn="1"/>
          </p:nvSpPr>
          <p:spPr bwMode="auto">
            <a:xfrm>
              <a:off x="10089418" y="2682060"/>
              <a:ext cx="48941" cy="63444"/>
            </a:xfrm>
            <a:custGeom>
              <a:avLst/>
              <a:gdLst>
                <a:gd name="T0" fmla="*/ 13 w 14"/>
                <a:gd name="T1" fmla="*/ 9 h 18"/>
                <a:gd name="T2" fmla="*/ 6 w 14"/>
                <a:gd name="T3" fmla="*/ 18 h 18"/>
                <a:gd name="T4" fmla="*/ 0 w 14"/>
                <a:gd name="T5" fmla="*/ 9 h 18"/>
                <a:gd name="T6" fmla="*/ 7 w 14"/>
                <a:gd name="T7" fmla="*/ 0 h 18"/>
                <a:gd name="T8" fmla="*/ 13 w 1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8">
                  <a:moveTo>
                    <a:pt x="13" y="9"/>
                  </a:moveTo>
                  <a:cubicBezTo>
                    <a:pt x="13" y="14"/>
                    <a:pt x="10" y="18"/>
                    <a:pt x="6" y="18"/>
                  </a:cubicBezTo>
                  <a:cubicBezTo>
                    <a:pt x="3" y="18"/>
                    <a:pt x="0" y="14"/>
                    <a:pt x="0" y="9"/>
                  </a:cubicBezTo>
                  <a:cubicBezTo>
                    <a:pt x="0" y="4"/>
                    <a:pt x="3" y="0"/>
                    <a:pt x="7" y="0"/>
                  </a:cubicBezTo>
                  <a:cubicBezTo>
                    <a:pt x="11" y="0"/>
                    <a:pt x="14" y="4"/>
                    <a:pt x="13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7" name="ï$ḷíḍé"/>
            <p:cNvSpPr/>
            <p:nvPr userDrawn="1"/>
          </p:nvSpPr>
          <p:spPr bwMode="auto">
            <a:xfrm>
              <a:off x="10245307" y="2689311"/>
              <a:ext cx="48941" cy="58005"/>
            </a:xfrm>
            <a:custGeom>
              <a:avLst/>
              <a:gdLst>
                <a:gd name="T0" fmla="*/ 14 w 14"/>
                <a:gd name="T1" fmla="*/ 9 h 17"/>
                <a:gd name="T2" fmla="*/ 7 w 14"/>
                <a:gd name="T3" fmla="*/ 17 h 17"/>
                <a:gd name="T4" fmla="*/ 0 w 14"/>
                <a:gd name="T5" fmla="*/ 8 h 17"/>
                <a:gd name="T6" fmla="*/ 7 w 14"/>
                <a:gd name="T7" fmla="*/ 0 h 17"/>
                <a:gd name="T8" fmla="*/ 14 w 1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7">
                  <a:moveTo>
                    <a:pt x="14" y="9"/>
                  </a:moveTo>
                  <a:cubicBezTo>
                    <a:pt x="14" y="13"/>
                    <a:pt x="10" y="17"/>
                    <a:pt x="7" y="17"/>
                  </a:cubicBezTo>
                  <a:cubicBezTo>
                    <a:pt x="3" y="17"/>
                    <a:pt x="0" y="13"/>
                    <a:pt x="0" y="8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4"/>
                    <a:pt x="14" y="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8" name="ísļîḓê"/>
            <p:cNvSpPr/>
            <p:nvPr userDrawn="1"/>
          </p:nvSpPr>
          <p:spPr bwMode="auto">
            <a:xfrm>
              <a:off x="10145610" y="2731002"/>
              <a:ext cx="58005" cy="117824"/>
            </a:xfrm>
            <a:custGeom>
              <a:avLst/>
              <a:gdLst>
                <a:gd name="T0" fmla="*/ 11 w 17"/>
                <a:gd name="T1" fmla="*/ 34 h 34"/>
                <a:gd name="T2" fmla="*/ 10 w 17"/>
                <a:gd name="T3" fmla="*/ 34 h 34"/>
                <a:gd name="T4" fmla="*/ 3 w 17"/>
                <a:gd name="T5" fmla="*/ 31 h 34"/>
                <a:gd name="T6" fmla="*/ 2 w 17"/>
                <a:gd name="T7" fmla="*/ 19 h 34"/>
                <a:gd name="T8" fmla="*/ 6 w 17"/>
                <a:gd name="T9" fmla="*/ 15 h 34"/>
                <a:gd name="T10" fmla="*/ 7 w 17"/>
                <a:gd name="T11" fmla="*/ 14 h 34"/>
                <a:gd name="T12" fmla="*/ 12 w 17"/>
                <a:gd name="T13" fmla="*/ 1 h 34"/>
                <a:gd name="T14" fmla="*/ 13 w 17"/>
                <a:gd name="T15" fmla="*/ 0 h 34"/>
                <a:gd name="T16" fmla="*/ 13 w 17"/>
                <a:gd name="T17" fmla="*/ 1 h 34"/>
                <a:gd name="T18" fmla="*/ 8 w 17"/>
                <a:gd name="T19" fmla="*/ 15 h 34"/>
                <a:gd name="T20" fmla="*/ 6 w 17"/>
                <a:gd name="T21" fmla="*/ 16 h 34"/>
                <a:gd name="T22" fmla="*/ 3 w 17"/>
                <a:gd name="T23" fmla="*/ 19 h 34"/>
                <a:gd name="T24" fmla="*/ 4 w 17"/>
                <a:gd name="T25" fmla="*/ 30 h 34"/>
                <a:gd name="T26" fmla="*/ 10 w 17"/>
                <a:gd name="T27" fmla="*/ 33 h 34"/>
                <a:gd name="T28" fmla="*/ 17 w 17"/>
                <a:gd name="T29" fmla="*/ 32 h 34"/>
                <a:gd name="T30" fmla="*/ 17 w 17"/>
                <a:gd name="T31" fmla="*/ 33 h 34"/>
                <a:gd name="T32" fmla="*/ 17 w 17"/>
                <a:gd name="T33" fmla="*/ 33 h 34"/>
                <a:gd name="T34" fmla="*/ 11 w 17"/>
                <a:gd name="T3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" h="34">
                  <a:moveTo>
                    <a:pt x="11" y="34"/>
                  </a:moveTo>
                  <a:cubicBezTo>
                    <a:pt x="11" y="34"/>
                    <a:pt x="10" y="34"/>
                    <a:pt x="10" y="34"/>
                  </a:cubicBezTo>
                  <a:cubicBezTo>
                    <a:pt x="8" y="33"/>
                    <a:pt x="5" y="33"/>
                    <a:pt x="3" y="31"/>
                  </a:cubicBezTo>
                  <a:cubicBezTo>
                    <a:pt x="0" y="28"/>
                    <a:pt x="0" y="23"/>
                    <a:pt x="2" y="19"/>
                  </a:cubicBezTo>
                  <a:cubicBezTo>
                    <a:pt x="3" y="17"/>
                    <a:pt x="5" y="16"/>
                    <a:pt x="6" y="15"/>
                  </a:cubicBezTo>
                  <a:cubicBezTo>
                    <a:pt x="6" y="15"/>
                    <a:pt x="7" y="14"/>
                    <a:pt x="7" y="14"/>
                  </a:cubicBezTo>
                  <a:cubicBezTo>
                    <a:pt x="11" y="10"/>
                    <a:pt x="13" y="5"/>
                    <a:pt x="12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4" y="5"/>
                    <a:pt x="12" y="11"/>
                    <a:pt x="8" y="15"/>
                  </a:cubicBezTo>
                  <a:cubicBezTo>
                    <a:pt x="8" y="15"/>
                    <a:pt x="7" y="16"/>
                    <a:pt x="6" y="16"/>
                  </a:cubicBezTo>
                  <a:cubicBezTo>
                    <a:pt x="5" y="17"/>
                    <a:pt x="4" y="18"/>
                    <a:pt x="3" y="19"/>
                  </a:cubicBezTo>
                  <a:cubicBezTo>
                    <a:pt x="1" y="23"/>
                    <a:pt x="1" y="27"/>
                    <a:pt x="4" y="30"/>
                  </a:cubicBezTo>
                  <a:cubicBezTo>
                    <a:pt x="6" y="32"/>
                    <a:pt x="8" y="32"/>
                    <a:pt x="10" y="33"/>
                  </a:cubicBezTo>
                  <a:cubicBezTo>
                    <a:pt x="12" y="33"/>
                    <a:pt x="14" y="33"/>
                    <a:pt x="17" y="32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5" y="34"/>
                    <a:pt x="13" y="34"/>
                    <a:pt x="11" y="34"/>
                  </a:cubicBezTo>
                  <a:close/>
                </a:path>
              </a:pathLst>
            </a:custGeom>
            <a:solidFill>
              <a:srgbClr val="DD6C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29" name="iṩḻíḓê"/>
            <p:cNvSpPr/>
            <p:nvPr userDrawn="1"/>
          </p:nvSpPr>
          <p:spPr bwMode="auto">
            <a:xfrm>
              <a:off x="10138360" y="2859701"/>
              <a:ext cx="145013" cy="72506"/>
            </a:xfrm>
            <a:custGeom>
              <a:avLst/>
              <a:gdLst>
                <a:gd name="T0" fmla="*/ 13 w 42"/>
                <a:gd name="T1" fmla="*/ 21 h 21"/>
                <a:gd name="T2" fmla="*/ 11 w 42"/>
                <a:gd name="T3" fmla="*/ 21 h 21"/>
                <a:gd name="T4" fmla="*/ 0 w 42"/>
                <a:gd name="T5" fmla="*/ 18 h 21"/>
                <a:gd name="T6" fmla="*/ 0 w 42"/>
                <a:gd name="T7" fmla="*/ 17 h 21"/>
                <a:gd name="T8" fmla="*/ 1 w 42"/>
                <a:gd name="T9" fmla="*/ 17 h 21"/>
                <a:gd name="T10" fmla="*/ 11 w 42"/>
                <a:gd name="T11" fmla="*/ 20 h 21"/>
                <a:gd name="T12" fmla="*/ 16 w 42"/>
                <a:gd name="T13" fmla="*/ 20 h 21"/>
                <a:gd name="T14" fmla="*/ 21 w 42"/>
                <a:gd name="T15" fmla="*/ 19 h 21"/>
                <a:gd name="T16" fmla="*/ 41 w 42"/>
                <a:gd name="T17" fmla="*/ 1 h 21"/>
                <a:gd name="T18" fmla="*/ 42 w 42"/>
                <a:gd name="T19" fmla="*/ 0 h 21"/>
                <a:gd name="T20" fmla="*/ 42 w 42"/>
                <a:gd name="T21" fmla="*/ 1 h 21"/>
                <a:gd name="T22" fmla="*/ 21 w 42"/>
                <a:gd name="T23" fmla="*/ 20 h 21"/>
                <a:gd name="T24" fmla="*/ 16 w 42"/>
                <a:gd name="T25" fmla="*/ 21 h 21"/>
                <a:gd name="T26" fmla="*/ 13 w 42"/>
                <a:gd name="T27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2" h="21">
                  <a:moveTo>
                    <a:pt x="13" y="21"/>
                  </a:moveTo>
                  <a:cubicBezTo>
                    <a:pt x="12" y="21"/>
                    <a:pt x="12" y="21"/>
                    <a:pt x="11" y="21"/>
                  </a:cubicBezTo>
                  <a:cubicBezTo>
                    <a:pt x="7" y="20"/>
                    <a:pt x="3" y="20"/>
                    <a:pt x="0" y="18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4" y="19"/>
                    <a:pt x="7" y="19"/>
                    <a:pt x="11" y="20"/>
                  </a:cubicBezTo>
                  <a:cubicBezTo>
                    <a:pt x="13" y="20"/>
                    <a:pt x="14" y="20"/>
                    <a:pt x="16" y="20"/>
                  </a:cubicBezTo>
                  <a:cubicBezTo>
                    <a:pt x="18" y="20"/>
                    <a:pt x="19" y="19"/>
                    <a:pt x="21" y="19"/>
                  </a:cubicBezTo>
                  <a:cubicBezTo>
                    <a:pt x="30" y="16"/>
                    <a:pt x="38" y="9"/>
                    <a:pt x="41" y="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38" y="10"/>
                    <a:pt x="31" y="17"/>
                    <a:pt x="21" y="20"/>
                  </a:cubicBezTo>
                  <a:cubicBezTo>
                    <a:pt x="20" y="20"/>
                    <a:pt x="18" y="21"/>
                    <a:pt x="16" y="21"/>
                  </a:cubicBezTo>
                  <a:cubicBezTo>
                    <a:pt x="15" y="21"/>
                    <a:pt x="14" y="21"/>
                    <a:pt x="13" y="21"/>
                  </a:cubicBezTo>
                  <a:close/>
                </a:path>
              </a:pathLst>
            </a:custGeom>
            <a:solidFill>
              <a:srgbClr val="DD6C4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0" name="işḷïḓê"/>
            <p:cNvSpPr/>
            <p:nvPr userDrawn="1"/>
          </p:nvSpPr>
          <p:spPr bwMode="auto">
            <a:xfrm>
              <a:off x="10228994" y="2643995"/>
              <a:ext cx="94259" cy="34441"/>
            </a:xfrm>
            <a:custGeom>
              <a:avLst/>
              <a:gdLst>
                <a:gd name="T0" fmla="*/ 26 w 27"/>
                <a:gd name="T1" fmla="*/ 7 h 10"/>
                <a:gd name="T2" fmla="*/ 27 w 27"/>
                <a:gd name="T3" fmla="*/ 8 h 10"/>
                <a:gd name="T4" fmla="*/ 25 w 27"/>
                <a:gd name="T5" fmla="*/ 10 h 10"/>
                <a:gd name="T6" fmla="*/ 18 w 27"/>
                <a:gd name="T7" fmla="*/ 8 h 10"/>
                <a:gd name="T8" fmla="*/ 5 w 27"/>
                <a:gd name="T9" fmla="*/ 7 h 10"/>
                <a:gd name="T10" fmla="*/ 0 w 27"/>
                <a:gd name="T11" fmla="*/ 6 h 10"/>
                <a:gd name="T12" fmla="*/ 2 w 27"/>
                <a:gd name="T13" fmla="*/ 2 h 10"/>
                <a:gd name="T14" fmla="*/ 8 w 27"/>
                <a:gd name="T15" fmla="*/ 0 h 10"/>
                <a:gd name="T16" fmla="*/ 26 w 27"/>
                <a:gd name="T17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0">
                  <a:moveTo>
                    <a:pt x="26" y="7"/>
                  </a:moveTo>
                  <a:cubicBezTo>
                    <a:pt x="26" y="7"/>
                    <a:pt x="27" y="7"/>
                    <a:pt x="27" y="8"/>
                  </a:cubicBezTo>
                  <a:cubicBezTo>
                    <a:pt x="27" y="9"/>
                    <a:pt x="26" y="10"/>
                    <a:pt x="25" y="10"/>
                  </a:cubicBezTo>
                  <a:cubicBezTo>
                    <a:pt x="22" y="10"/>
                    <a:pt x="20" y="9"/>
                    <a:pt x="18" y="8"/>
                  </a:cubicBezTo>
                  <a:cubicBezTo>
                    <a:pt x="14" y="6"/>
                    <a:pt x="9" y="6"/>
                    <a:pt x="5" y="7"/>
                  </a:cubicBezTo>
                  <a:cubicBezTo>
                    <a:pt x="3" y="7"/>
                    <a:pt x="1" y="7"/>
                    <a:pt x="0" y="6"/>
                  </a:cubicBezTo>
                  <a:cubicBezTo>
                    <a:pt x="0" y="5"/>
                    <a:pt x="1" y="3"/>
                    <a:pt x="2" y="2"/>
                  </a:cubicBezTo>
                  <a:cubicBezTo>
                    <a:pt x="4" y="1"/>
                    <a:pt x="6" y="1"/>
                    <a:pt x="8" y="0"/>
                  </a:cubicBezTo>
                  <a:cubicBezTo>
                    <a:pt x="15" y="0"/>
                    <a:pt x="21" y="1"/>
                    <a:pt x="26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1" name="íśḷiḓe"/>
            <p:cNvSpPr/>
            <p:nvPr userDrawn="1"/>
          </p:nvSpPr>
          <p:spPr bwMode="auto">
            <a:xfrm>
              <a:off x="10071291" y="2636744"/>
              <a:ext cx="94259" cy="38066"/>
            </a:xfrm>
            <a:custGeom>
              <a:avLst/>
              <a:gdLst>
                <a:gd name="T0" fmla="*/ 1 w 27"/>
                <a:gd name="T1" fmla="*/ 7 h 11"/>
                <a:gd name="T2" fmla="*/ 0 w 27"/>
                <a:gd name="T3" fmla="*/ 8 h 11"/>
                <a:gd name="T4" fmla="*/ 2 w 27"/>
                <a:gd name="T5" fmla="*/ 10 h 11"/>
                <a:gd name="T6" fmla="*/ 9 w 27"/>
                <a:gd name="T7" fmla="*/ 8 h 11"/>
                <a:gd name="T8" fmla="*/ 22 w 27"/>
                <a:gd name="T9" fmla="*/ 8 h 11"/>
                <a:gd name="T10" fmla="*/ 26 w 27"/>
                <a:gd name="T11" fmla="*/ 8 h 11"/>
                <a:gd name="T12" fmla="*/ 25 w 27"/>
                <a:gd name="T13" fmla="*/ 4 h 11"/>
                <a:gd name="T14" fmla="*/ 19 w 27"/>
                <a:gd name="T15" fmla="*/ 2 h 11"/>
                <a:gd name="T16" fmla="*/ 1 w 27"/>
                <a:gd name="T17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11">
                  <a:moveTo>
                    <a:pt x="1" y="7"/>
                  </a:moveTo>
                  <a:cubicBezTo>
                    <a:pt x="1" y="7"/>
                    <a:pt x="0" y="8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5" y="11"/>
                    <a:pt x="7" y="9"/>
                    <a:pt x="9" y="8"/>
                  </a:cubicBezTo>
                  <a:cubicBezTo>
                    <a:pt x="13" y="7"/>
                    <a:pt x="18" y="7"/>
                    <a:pt x="22" y="8"/>
                  </a:cubicBezTo>
                  <a:cubicBezTo>
                    <a:pt x="24" y="9"/>
                    <a:pt x="26" y="9"/>
                    <a:pt x="26" y="8"/>
                  </a:cubicBezTo>
                  <a:cubicBezTo>
                    <a:pt x="27" y="6"/>
                    <a:pt x="26" y="5"/>
                    <a:pt x="25" y="4"/>
                  </a:cubicBezTo>
                  <a:cubicBezTo>
                    <a:pt x="23" y="3"/>
                    <a:pt x="21" y="2"/>
                    <a:pt x="19" y="2"/>
                  </a:cubicBezTo>
                  <a:cubicBezTo>
                    <a:pt x="13" y="0"/>
                    <a:pt x="6" y="1"/>
                    <a:pt x="1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2" name="íşḷíḑê"/>
            <p:cNvSpPr/>
            <p:nvPr userDrawn="1"/>
          </p:nvSpPr>
          <p:spPr bwMode="auto">
            <a:xfrm>
              <a:off x="9474924" y="5613142"/>
              <a:ext cx="534736" cy="425977"/>
            </a:xfrm>
            <a:custGeom>
              <a:avLst/>
              <a:gdLst>
                <a:gd name="T0" fmla="*/ 152 w 153"/>
                <a:gd name="T1" fmla="*/ 0 h 122"/>
                <a:gd name="T2" fmla="*/ 152 w 153"/>
                <a:gd name="T3" fmla="*/ 72 h 122"/>
                <a:gd name="T4" fmla="*/ 152 w 153"/>
                <a:gd name="T5" fmla="*/ 91 h 122"/>
                <a:gd name="T6" fmla="*/ 135 w 153"/>
                <a:gd name="T7" fmla="*/ 118 h 122"/>
                <a:gd name="T8" fmla="*/ 15 w 153"/>
                <a:gd name="T9" fmla="*/ 118 h 122"/>
                <a:gd name="T10" fmla="*/ 15 w 153"/>
                <a:gd name="T11" fmla="*/ 105 h 122"/>
                <a:gd name="T12" fmla="*/ 110 w 153"/>
                <a:gd name="T13" fmla="*/ 73 h 122"/>
                <a:gd name="T14" fmla="*/ 116 w 153"/>
                <a:gd name="T15" fmla="*/ 71 h 122"/>
                <a:gd name="T16" fmla="*/ 116 w 153"/>
                <a:gd name="T17" fmla="*/ 12 h 122"/>
                <a:gd name="T18" fmla="*/ 152 w 153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3" h="122">
                  <a:moveTo>
                    <a:pt x="152" y="0"/>
                  </a:moveTo>
                  <a:cubicBezTo>
                    <a:pt x="152" y="72"/>
                    <a:pt x="152" y="72"/>
                    <a:pt x="152" y="72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3" y="122"/>
                    <a:pt x="135" y="118"/>
                    <a:pt x="135" y="118"/>
                  </a:cubicBezTo>
                  <a:cubicBezTo>
                    <a:pt x="135" y="118"/>
                    <a:pt x="30" y="120"/>
                    <a:pt x="15" y="118"/>
                  </a:cubicBezTo>
                  <a:cubicBezTo>
                    <a:pt x="0" y="115"/>
                    <a:pt x="15" y="105"/>
                    <a:pt x="15" y="105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16" y="71"/>
                    <a:pt x="116" y="71"/>
                    <a:pt x="116" y="71"/>
                  </a:cubicBezTo>
                  <a:cubicBezTo>
                    <a:pt x="116" y="12"/>
                    <a:pt x="116" y="12"/>
                    <a:pt x="116" y="12"/>
                  </a:cubicBezTo>
                  <a:lnTo>
                    <a:pt x="152" y="0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3" name="islîḍé"/>
            <p:cNvSpPr/>
            <p:nvPr userDrawn="1"/>
          </p:nvSpPr>
          <p:spPr bwMode="auto">
            <a:xfrm>
              <a:off x="9879148" y="5763593"/>
              <a:ext cx="126886" cy="23565"/>
            </a:xfrm>
            <a:prstGeom prst="rect">
              <a:avLst/>
            </a:pr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4" name="ïṣlïďê"/>
            <p:cNvSpPr/>
            <p:nvPr userDrawn="1"/>
          </p:nvSpPr>
          <p:spPr bwMode="auto">
            <a:xfrm>
              <a:off x="9503927" y="5861476"/>
              <a:ext cx="502108" cy="170390"/>
            </a:xfrm>
            <a:custGeom>
              <a:avLst/>
              <a:gdLst>
                <a:gd name="T0" fmla="*/ 144 w 144"/>
                <a:gd name="T1" fmla="*/ 1 h 49"/>
                <a:gd name="T2" fmla="*/ 144 w 144"/>
                <a:gd name="T3" fmla="*/ 20 h 49"/>
                <a:gd name="T4" fmla="*/ 142 w 144"/>
                <a:gd name="T5" fmla="*/ 37 h 49"/>
                <a:gd name="T6" fmla="*/ 127 w 144"/>
                <a:gd name="T7" fmla="*/ 47 h 49"/>
                <a:gd name="T8" fmla="*/ 7 w 144"/>
                <a:gd name="T9" fmla="*/ 47 h 49"/>
                <a:gd name="T10" fmla="*/ 1 w 144"/>
                <a:gd name="T11" fmla="*/ 41 h 49"/>
                <a:gd name="T12" fmla="*/ 7 w 144"/>
                <a:gd name="T13" fmla="*/ 34 h 49"/>
                <a:gd name="T14" fmla="*/ 108 w 144"/>
                <a:gd name="T15" fmla="*/ 0 h 49"/>
                <a:gd name="T16" fmla="*/ 142 w 144"/>
                <a:gd name="T17" fmla="*/ 2 h 49"/>
                <a:gd name="T18" fmla="*/ 144 w 144"/>
                <a:gd name="T19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49">
                  <a:moveTo>
                    <a:pt x="144" y="1"/>
                  </a:moveTo>
                  <a:cubicBezTo>
                    <a:pt x="144" y="20"/>
                    <a:pt x="144" y="20"/>
                    <a:pt x="144" y="20"/>
                  </a:cubicBezTo>
                  <a:cubicBezTo>
                    <a:pt x="144" y="27"/>
                    <a:pt x="143" y="33"/>
                    <a:pt x="142" y="37"/>
                  </a:cubicBezTo>
                  <a:cubicBezTo>
                    <a:pt x="137" y="49"/>
                    <a:pt x="127" y="47"/>
                    <a:pt x="127" y="47"/>
                  </a:cubicBezTo>
                  <a:cubicBezTo>
                    <a:pt x="127" y="47"/>
                    <a:pt x="22" y="49"/>
                    <a:pt x="7" y="47"/>
                  </a:cubicBezTo>
                  <a:cubicBezTo>
                    <a:pt x="1" y="46"/>
                    <a:pt x="0" y="44"/>
                    <a:pt x="1" y="41"/>
                  </a:cubicBezTo>
                  <a:cubicBezTo>
                    <a:pt x="2" y="38"/>
                    <a:pt x="7" y="34"/>
                    <a:pt x="7" y="34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21" y="4"/>
                    <a:pt x="129" y="4"/>
                    <a:pt x="142" y="2"/>
                  </a:cubicBezTo>
                  <a:cubicBezTo>
                    <a:pt x="143" y="2"/>
                    <a:pt x="143" y="2"/>
                    <a:pt x="14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35" name="ïṧḻidê"/>
            <p:cNvSpPr/>
            <p:nvPr userDrawn="1"/>
          </p:nvSpPr>
          <p:spPr bwMode="auto">
            <a:xfrm>
              <a:off x="9685193" y="5908605"/>
              <a:ext cx="41690" cy="81570"/>
            </a:xfrm>
            <a:custGeom>
              <a:avLst/>
              <a:gdLst>
                <a:gd name="T0" fmla="*/ 10 w 12"/>
                <a:gd name="T1" fmla="*/ 22 h 23"/>
                <a:gd name="T2" fmla="*/ 10 w 12"/>
                <a:gd name="T3" fmla="*/ 22 h 23"/>
                <a:gd name="T4" fmla="*/ 7 w 12"/>
                <a:gd name="T5" fmla="*/ 21 h 23"/>
                <a:gd name="T6" fmla="*/ 0 w 12"/>
                <a:gd name="T7" fmla="*/ 4 h 23"/>
                <a:gd name="T8" fmla="*/ 2 w 12"/>
                <a:gd name="T9" fmla="*/ 1 h 23"/>
                <a:gd name="T10" fmla="*/ 5 w 12"/>
                <a:gd name="T11" fmla="*/ 2 h 23"/>
                <a:gd name="T12" fmla="*/ 12 w 12"/>
                <a:gd name="T13" fmla="*/ 19 h 23"/>
                <a:gd name="T14" fmla="*/ 10 w 12"/>
                <a:gd name="T15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3">
                  <a:moveTo>
                    <a:pt x="10" y="22"/>
                  </a:moveTo>
                  <a:cubicBezTo>
                    <a:pt x="10" y="22"/>
                    <a:pt x="10" y="22"/>
                    <a:pt x="10" y="22"/>
                  </a:cubicBezTo>
                  <a:cubicBezTo>
                    <a:pt x="9" y="23"/>
                    <a:pt x="8" y="22"/>
                    <a:pt x="7" y="2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1"/>
                    <a:pt x="2" y="1"/>
                  </a:cubicBezTo>
                  <a:cubicBezTo>
                    <a:pt x="3" y="0"/>
                    <a:pt x="5" y="1"/>
                    <a:pt x="5" y="2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0"/>
                    <a:pt x="12" y="22"/>
                    <a:pt x="10" y="22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6" name="ïşľïďe"/>
            <p:cNvSpPr/>
            <p:nvPr userDrawn="1"/>
          </p:nvSpPr>
          <p:spPr bwMode="auto">
            <a:xfrm>
              <a:off x="9708757" y="5903169"/>
              <a:ext cx="41690" cy="76131"/>
            </a:xfrm>
            <a:custGeom>
              <a:avLst/>
              <a:gdLst>
                <a:gd name="T0" fmla="*/ 10 w 12"/>
                <a:gd name="T1" fmla="*/ 21 h 22"/>
                <a:gd name="T2" fmla="*/ 10 w 12"/>
                <a:gd name="T3" fmla="*/ 21 h 22"/>
                <a:gd name="T4" fmla="*/ 7 w 12"/>
                <a:gd name="T5" fmla="*/ 20 h 22"/>
                <a:gd name="T6" fmla="*/ 1 w 12"/>
                <a:gd name="T7" fmla="*/ 3 h 22"/>
                <a:gd name="T8" fmla="*/ 2 w 12"/>
                <a:gd name="T9" fmla="*/ 0 h 22"/>
                <a:gd name="T10" fmla="*/ 5 w 12"/>
                <a:gd name="T11" fmla="*/ 2 h 22"/>
                <a:gd name="T12" fmla="*/ 12 w 12"/>
                <a:gd name="T13" fmla="*/ 18 h 22"/>
                <a:gd name="T14" fmla="*/ 10 w 12"/>
                <a:gd name="T15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2">
                  <a:moveTo>
                    <a:pt x="10" y="21"/>
                  </a:moveTo>
                  <a:cubicBezTo>
                    <a:pt x="10" y="21"/>
                    <a:pt x="10" y="21"/>
                    <a:pt x="10" y="21"/>
                  </a:cubicBezTo>
                  <a:cubicBezTo>
                    <a:pt x="9" y="22"/>
                    <a:pt x="8" y="21"/>
                    <a:pt x="7" y="2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2"/>
                    <a:pt x="1" y="1"/>
                    <a:pt x="2" y="0"/>
                  </a:cubicBezTo>
                  <a:cubicBezTo>
                    <a:pt x="3" y="0"/>
                    <a:pt x="5" y="0"/>
                    <a:pt x="5" y="2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9"/>
                    <a:pt x="12" y="21"/>
                    <a:pt x="10" y="21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7" name="ï$ľíḍê"/>
            <p:cNvSpPr/>
            <p:nvPr userDrawn="1"/>
          </p:nvSpPr>
          <p:spPr bwMode="auto">
            <a:xfrm>
              <a:off x="9734135" y="5892293"/>
              <a:ext cx="41690" cy="76131"/>
            </a:xfrm>
            <a:custGeom>
              <a:avLst/>
              <a:gdLst>
                <a:gd name="T0" fmla="*/ 10 w 12"/>
                <a:gd name="T1" fmla="*/ 22 h 22"/>
                <a:gd name="T2" fmla="*/ 10 w 12"/>
                <a:gd name="T3" fmla="*/ 22 h 22"/>
                <a:gd name="T4" fmla="*/ 7 w 12"/>
                <a:gd name="T5" fmla="*/ 20 h 22"/>
                <a:gd name="T6" fmla="*/ 0 w 12"/>
                <a:gd name="T7" fmla="*/ 4 h 22"/>
                <a:gd name="T8" fmla="*/ 2 w 12"/>
                <a:gd name="T9" fmla="*/ 0 h 22"/>
                <a:gd name="T10" fmla="*/ 5 w 12"/>
                <a:gd name="T11" fmla="*/ 2 h 22"/>
                <a:gd name="T12" fmla="*/ 11 w 12"/>
                <a:gd name="T13" fmla="*/ 19 h 22"/>
                <a:gd name="T14" fmla="*/ 10 w 1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2">
                  <a:moveTo>
                    <a:pt x="10" y="22"/>
                  </a:moveTo>
                  <a:cubicBezTo>
                    <a:pt x="10" y="22"/>
                    <a:pt x="10" y="22"/>
                    <a:pt x="10" y="22"/>
                  </a:cubicBezTo>
                  <a:cubicBezTo>
                    <a:pt x="9" y="22"/>
                    <a:pt x="7" y="22"/>
                    <a:pt x="7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0" y="1"/>
                    <a:pt x="2" y="0"/>
                  </a:cubicBezTo>
                  <a:cubicBezTo>
                    <a:pt x="3" y="0"/>
                    <a:pt x="4" y="1"/>
                    <a:pt x="5" y="2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2" y="20"/>
                    <a:pt x="11" y="21"/>
                    <a:pt x="10" y="22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8" name="iŝḻiḍé"/>
            <p:cNvSpPr/>
            <p:nvPr userDrawn="1"/>
          </p:nvSpPr>
          <p:spPr bwMode="auto">
            <a:xfrm>
              <a:off x="9503927" y="5986551"/>
              <a:ext cx="494857" cy="45317"/>
            </a:xfrm>
            <a:custGeom>
              <a:avLst/>
              <a:gdLst>
                <a:gd name="T0" fmla="*/ 142 w 142"/>
                <a:gd name="T1" fmla="*/ 1 h 13"/>
                <a:gd name="T2" fmla="*/ 127 w 142"/>
                <a:gd name="T3" fmla="*/ 11 h 13"/>
                <a:gd name="T4" fmla="*/ 7 w 142"/>
                <a:gd name="T5" fmla="*/ 11 h 13"/>
                <a:gd name="T6" fmla="*/ 1 w 142"/>
                <a:gd name="T7" fmla="*/ 5 h 13"/>
                <a:gd name="T8" fmla="*/ 9 w 142"/>
                <a:gd name="T9" fmla="*/ 7 h 13"/>
                <a:gd name="T10" fmla="*/ 25 w 142"/>
                <a:gd name="T11" fmla="*/ 8 h 13"/>
                <a:gd name="T12" fmla="*/ 43 w 142"/>
                <a:gd name="T13" fmla="*/ 7 h 13"/>
                <a:gd name="T14" fmla="*/ 140 w 142"/>
                <a:gd name="T15" fmla="*/ 1 h 13"/>
                <a:gd name="T16" fmla="*/ 142 w 142"/>
                <a:gd name="T1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2" h="13">
                  <a:moveTo>
                    <a:pt x="142" y="1"/>
                  </a:moveTo>
                  <a:cubicBezTo>
                    <a:pt x="137" y="13"/>
                    <a:pt x="127" y="11"/>
                    <a:pt x="127" y="11"/>
                  </a:cubicBezTo>
                  <a:cubicBezTo>
                    <a:pt x="127" y="11"/>
                    <a:pt x="22" y="13"/>
                    <a:pt x="7" y="11"/>
                  </a:cubicBezTo>
                  <a:cubicBezTo>
                    <a:pt x="1" y="10"/>
                    <a:pt x="0" y="8"/>
                    <a:pt x="1" y="5"/>
                  </a:cubicBezTo>
                  <a:cubicBezTo>
                    <a:pt x="3" y="6"/>
                    <a:pt x="6" y="7"/>
                    <a:pt x="9" y="7"/>
                  </a:cubicBezTo>
                  <a:cubicBezTo>
                    <a:pt x="14" y="7"/>
                    <a:pt x="20" y="8"/>
                    <a:pt x="25" y="8"/>
                  </a:cubicBezTo>
                  <a:cubicBezTo>
                    <a:pt x="31" y="8"/>
                    <a:pt x="37" y="8"/>
                    <a:pt x="43" y="7"/>
                  </a:cubicBezTo>
                  <a:cubicBezTo>
                    <a:pt x="75" y="5"/>
                    <a:pt x="107" y="0"/>
                    <a:pt x="140" y="1"/>
                  </a:cubicBezTo>
                  <a:cubicBezTo>
                    <a:pt x="140" y="1"/>
                    <a:pt x="141" y="1"/>
                    <a:pt x="142" y="1"/>
                  </a:cubicBezTo>
                  <a:close/>
                </a:path>
              </a:pathLst>
            </a:custGeom>
            <a:solidFill>
              <a:srgbClr val="E8E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39" name="îṡľide"/>
            <p:cNvSpPr/>
            <p:nvPr userDrawn="1"/>
          </p:nvSpPr>
          <p:spPr bwMode="auto">
            <a:xfrm>
              <a:off x="10323252" y="5613142"/>
              <a:ext cx="529298" cy="425977"/>
            </a:xfrm>
            <a:custGeom>
              <a:avLst/>
              <a:gdLst>
                <a:gd name="T0" fmla="*/ 1 w 152"/>
                <a:gd name="T1" fmla="*/ 0 h 122"/>
                <a:gd name="T2" fmla="*/ 1 w 152"/>
                <a:gd name="T3" fmla="*/ 72 h 122"/>
                <a:gd name="T4" fmla="*/ 1 w 152"/>
                <a:gd name="T5" fmla="*/ 91 h 122"/>
                <a:gd name="T6" fmla="*/ 18 w 152"/>
                <a:gd name="T7" fmla="*/ 118 h 122"/>
                <a:gd name="T8" fmla="*/ 138 w 152"/>
                <a:gd name="T9" fmla="*/ 118 h 122"/>
                <a:gd name="T10" fmla="*/ 138 w 152"/>
                <a:gd name="T11" fmla="*/ 105 h 122"/>
                <a:gd name="T12" fmla="*/ 43 w 152"/>
                <a:gd name="T13" fmla="*/ 73 h 122"/>
                <a:gd name="T14" fmla="*/ 37 w 152"/>
                <a:gd name="T15" fmla="*/ 71 h 122"/>
                <a:gd name="T16" fmla="*/ 37 w 152"/>
                <a:gd name="T17" fmla="*/ 12 h 122"/>
                <a:gd name="T18" fmla="*/ 1 w 152"/>
                <a:gd name="T19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2" h="122">
                  <a:moveTo>
                    <a:pt x="1" y="0"/>
                  </a:moveTo>
                  <a:cubicBezTo>
                    <a:pt x="1" y="72"/>
                    <a:pt x="1" y="72"/>
                    <a:pt x="1" y="72"/>
                  </a:cubicBezTo>
                  <a:cubicBezTo>
                    <a:pt x="1" y="91"/>
                    <a:pt x="1" y="91"/>
                    <a:pt x="1" y="91"/>
                  </a:cubicBezTo>
                  <a:cubicBezTo>
                    <a:pt x="0" y="122"/>
                    <a:pt x="18" y="118"/>
                    <a:pt x="18" y="118"/>
                  </a:cubicBezTo>
                  <a:cubicBezTo>
                    <a:pt x="18" y="118"/>
                    <a:pt x="123" y="120"/>
                    <a:pt x="138" y="118"/>
                  </a:cubicBezTo>
                  <a:cubicBezTo>
                    <a:pt x="152" y="115"/>
                    <a:pt x="138" y="105"/>
                    <a:pt x="138" y="105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37" y="71"/>
                    <a:pt x="37" y="71"/>
                    <a:pt x="37" y="71"/>
                  </a:cubicBezTo>
                  <a:cubicBezTo>
                    <a:pt x="37" y="12"/>
                    <a:pt x="37" y="12"/>
                    <a:pt x="37" y="12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0" name="îṡlïdê"/>
            <p:cNvSpPr/>
            <p:nvPr userDrawn="1"/>
          </p:nvSpPr>
          <p:spPr bwMode="auto">
            <a:xfrm>
              <a:off x="10326878" y="5763593"/>
              <a:ext cx="125073" cy="23565"/>
            </a:xfrm>
            <a:prstGeom prst="rect">
              <a:avLst/>
            </a:pr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1" name="iṡḻiḍé"/>
            <p:cNvSpPr/>
            <p:nvPr userDrawn="1"/>
          </p:nvSpPr>
          <p:spPr bwMode="auto">
            <a:xfrm>
              <a:off x="10326878" y="5861476"/>
              <a:ext cx="500296" cy="170390"/>
            </a:xfrm>
            <a:custGeom>
              <a:avLst/>
              <a:gdLst>
                <a:gd name="T0" fmla="*/ 0 w 144"/>
                <a:gd name="T1" fmla="*/ 1 h 49"/>
                <a:gd name="T2" fmla="*/ 0 w 144"/>
                <a:gd name="T3" fmla="*/ 20 h 49"/>
                <a:gd name="T4" fmla="*/ 2 w 144"/>
                <a:gd name="T5" fmla="*/ 37 h 49"/>
                <a:gd name="T6" fmla="*/ 17 w 144"/>
                <a:gd name="T7" fmla="*/ 47 h 49"/>
                <a:gd name="T8" fmla="*/ 137 w 144"/>
                <a:gd name="T9" fmla="*/ 47 h 49"/>
                <a:gd name="T10" fmla="*/ 143 w 144"/>
                <a:gd name="T11" fmla="*/ 41 h 49"/>
                <a:gd name="T12" fmla="*/ 137 w 144"/>
                <a:gd name="T13" fmla="*/ 34 h 49"/>
                <a:gd name="T14" fmla="*/ 36 w 144"/>
                <a:gd name="T15" fmla="*/ 0 h 49"/>
                <a:gd name="T16" fmla="*/ 1 w 144"/>
                <a:gd name="T17" fmla="*/ 2 h 49"/>
                <a:gd name="T18" fmla="*/ 0 w 144"/>
                <a:gd name="T19" fmla="*/ 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49">
                  <a:moveTo>
                    <a:pt x="0" y="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27"/>
                    <a:pt x="1" y="33"/>
                    <a:pt x="2" y="37"/>
                  </a:cubicBezTo>
                  <a:cubicBezTo>
                    <a:pt x="7" y="49"/>
                    <a:pt x="17" y="47"/>
                    <a:pt x="17" y="47"/>
                  </a:cubicBezTo>
                  <a:cubicBezTo>
                    <a:pt x="17" y="47"/>
                    <a:pt x="122" y="49"/>
                    <a:pt x="137" y="47"/>
                  </a:cubicBezTo>
                  <a:cubicBezTo>
                    <a:pt x="143" y="46"/>
                    <a:pt x="144" y="44"/>
                    <a:pt x="143" y="41"/>
                  </a:cubicBezTo>
                  <a:cubicBezTo>
                    <a:pt x="142" y="38"/>
                    <a:pt x="137" y="34"/>
                    <a:pt x="137" y="34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3" y="4"/>
                    <a:pt x="15" y="4"/>
                    <a:pt x="1" y="2"/>
                  </a:cubicBezTo>
                  <a:cubicBezTo>
                    <a:pt x="1" y="2"/>
                    <a:pt x="0" y="2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42" name="îs1iḓe"/>
            <p:cNvSpPr/>
            <p:nvPr userDrawn="1"/>
          </p:nvSpPr>
          <p:spPr bwMode="auto">
            <a:xfrm>
              <a:off x="10604215" y="5908605"/>
              <a:ext cx="41690" cy="81570"/>
            </a:xfrm>
            <a:custGeom>
              <a:avLst/>
              <a:gdLst>
                <a:gd name="T0" fmla="*/ 1 w 12"/>
                <a:gd name="T1" fmla="*/ 22 h 23"/>
                <a:gd name="T2" fmla="*/ 1 w 12"/>
                <a:gd name="T3" fmla="*/ 22 h 23"/>
                <a:gd name="T4" fmla="*/ 5 w 12"/>
                <a:gd name="T5" fmla="*/ 21 h 23"/>
                <a:gd name="T6" fmla="*/ 11 w 12"/>
                <a:gd name="T7" fmla="*/ 4 h 23"/>
                <a:gd name="T8" fmla="*/ 10 w 12"/>
                <a:gd name="T9" fmla="*/ 1 h 23"/>
                <a:gd name="T10" fmla="*/ 7 w 12"/>
                <a:gd name="T11" fmla="*/ 2 h 23"/>
                <a:gd name="T12" fmla="*/ 0 w 12"/>
                <a:gd name="T13" fmla="*/ 19 h 23"/>
                <a:gd name="T14" fmla="*/ 1 w 12"/>
                <a:gd name="T15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3">
                  <a:moveTo>
                    <a:pt x="1" y="22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3" y="23"/>
                    <a:pt x="4" y="22"/>
                    <a:pt x="5" y="21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2" y="3"/>
                    <a:pt x="11" y="1"/>
                    <a:pt x="10" y="1"/>
                  </a:cubicBezTo>
                  <a:cubicBezTo>
                    <a:pt x="9" y="0"/>
                    <a:pt x="7" y="1"/>
                    <a:pt x="7" y="2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2"/>
                    <a:pt x="1" y="22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3" name="íṩlíḓè"/>
            <p:cNvSpPr/>
            <p:nvPr userDrawn="1"/>
          </p:nvSpPr>
          <p:spPr bwMode="auto">
            <a:xfrm>
              <a:off x="10577026" y="5903169"/>
              <a:ext cx="45316" cy="76131"/>
            </a:xfrm>
            <a:custGeom>
              <a:avLst/>
              <a:gdLst>
                <a:gd name="T0" fmla="*/ 2 w 13"/>
                <a:gd name="T1" fmla="*/ 21 h 22"/>
                <a:gd name="T2" fmla="*/ 2 w 13"/>
                <a:gd name="T3" fmla="*/ 21 h 22"/>
                <a:gd name="T4" fmla="*/ 6 w 13"/>
                <a:gd name="T5" fmla="*/ 20 h 22"/>
                <a:gd name="T6" fmla="*/ 12 w 13"/>
                <a:gd name="T7" fmla="*/ 3 h 22"/>
                <a:gd name="T8" fmla="*/ 11 w 13"/>
                <a:gd name="T9" fmla="*/ 0 h 22"/>
                <a:gd name="T10" fmla="*/ 8 w 13"/>
                <a:gd name="T11" fmla="*/ 2 h 22"/>
                <a:gd name="T12" fmla="*/ 1 w 13"/>
                <a:gd name="T13" fmla="*/ 18 h 22"/>
                <a:gd name="T14" fmla="*/ 2 w 13"/>
                <a:gd name="T15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2">
                  <a:moveTo>
                    <a:pt x="2" y="21"/>
                  </a:moveTo>
                  <a:cubicBezTo>
                    <a:pt x="2" y="21"/>
                    <a:pt x="2" y="21"/>
                    <a:pt x="2" y="21"/>
                  </a:cubicBezTo>
                  <a:cubicBezTo>
                    <a:pt x="4" y="22"/>
                    <a:pt x="5" y="21"/>
                    <a:pt x="6" y="20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2"/>
                    <a:pt x="12" y="1"/>
                    <a:pt x="11" y="0"/>
                  </a:cubicBezTo>
                  <a:cubicBezTo>
                    <a:pt x="10" y="0"/>
                    <a:pt x="8" y="0"/>
                    <a:pt x="8" y="2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9"/>
                    <a:pt x="1" y="21"/>
                    <a:pt x="2" y="21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4" name="işľíḋé"/>
            <p:cNvSpPr/>
            <p:nvPr userDrawn="1"/>
          </p:nvSpPr>
          <p:spPr bwMode="auto">
            <a:xfrm>
              <a:off x="10555273" y="5892293"/>
              <a:ext cx="43504" cy="76131"/>
            </a:xfrm>
            <a:custGeom>
              <a:avLst/>
              <a:gdLst>
                <a:gd name="T0" fmla="*/ 2 w 12"/>
                <a:gd name="T1" fmla="*/ 22 h 22"/>
                <a:gd name="T2" fmla="*/ 2 w 12"/>
                <a:gd name="T3" fmla="*/ 22 h 22"/>
                <a:gd name="T4" fmla="*/ 5 w 12"/>
                <a:gd name="T5" fmla="*/ 20 h 22"/>
                <a:gd name="T6" fmla="*/ 12 w 12"/>
                <a:gd name="T7" fmla="*/ 4 h 22"/>
                <a:gd name="T8" fmla="*/ 10 w 12"/>
                <a:gd name="T9" fmla="*/ 0 h 22"/>
                <a:gd name="T10" fmla="*/ 7 w 12"/>
                <a:gd name="T11" fmla="*/ 2 h 22"/>
                <a:gd name="T12" fmla="*/ 0 w 12"/>
                <a:gd name="T13" fmla="*/ 19 h 22"/>
                <a:gd name="T14" fmla="*/ 2 w 1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2">
                  <a:moveTo>
                    <a:pt x="2" y="22"/>
                  </a:moveTo>
                  <a:cubicBezTo>
                    <a:pt x="2" y="22"/>
                    <a:pt x="2" y="22"/>
                    <a:pt x="2" y="22"/>
                  </a:cubicBezTo>
                  <a:cubicBezTo>
                    <a:pt x="3" y="22"/>
                    <a:pt x="4" y="22"/>
                    <a:pt x="5" y="20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1" y="1"/>
                    <a:pt x="10" y="0"/>
                  </a:cubicBezTo>
                  <a:cubicBezTo>
                    <a:pt x="9" y="0"/>
                    <a:pt x="7" y="1"/>
                    <a:pt x="7" y="2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1"/>
                    <a:pt x="2" y="22"/>
                  </a:cubicBezTo>
                  <a:close/>
                </a:path>
              </a:pathLst>
            </a:custGeom>
            <a:solidFill>
              <a:srgbClr val="D1D1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5" name="íṧḷiḍé"/>
            <p:cNvSpPr/>
            <p:nvPr userDrawn="1"/>
          </p:nvSpPr>
          <p:spPr bwMode="auto">
            <a:xfrm>
              <a:off x="10332314" y="5986551"/>
              <a:ext cx="494857" cy="45317"/>
            </a:xfrm>
            <a:custGeom>
              <a:avLst/>
              <a:gdLst>
                <a:gd name="T0" fmla="*/ 0 w 142"/>
                <a:gd name="T1" fmla="*/ 1 h 13"/>
                <a:gd name="T2" fmla="*/ 15 w 142"/>
                <a:gd name="T3" fmla="*/ 11 h 13"/>
                <a:gd name="T4" fmla="*/ 135 w 142"/>
                <a:gd name="T5" fmla="*/ 11 h 13"/>
                <a:gd name="T6" fmla="*/ 141 w 142"/>
                <a:gd name="T7" fmla="*/ 5 h 13"/>
                <a:gd name="T8" fmla="*/ 133 w 142"/>
                <a:gd name="T9" fmla="*/ 7 h 13"/>
                <a:gd name="T10" fmla="*/ 117 w 142"/>
                <a:gd name="T11" fmla="*/ 8 h 13"/>
                <a:gd name="T12" fmla="*/ 99 w 142"/>
                <a:gd name="T13" fmla="*/ 7 h 13"/>
                <a:gd name="T14" fmla="*/ 2 w 142"/>
                <a:gd name="T15" fmla="*/ 1 h 13"/>
                <a:gd name="T16" fmla="*/ 0 w 142"/>
                <a:gd name="T17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2" h="13">
                  <a:moveTo>
                    <a:pt x="0" y="1"/>
                  </a:moveTo>
                  <a:cubicBezTo>
                    <a:pt x="5" y="13"/>
                    <a:pt x="15" y="11"/>
                    <a:pt x="15" y="11"/>
                  </a:cubicBezTo>
                  <a:cubicBezTo>
                    <a:pt x="15" y="11"/>
                    <a:pt x="120" y="13"/>
                    <a:pt x="135" y="11"/>
                  </a:cubicBezTo>
                  <a:cubicBezTo>
                    <a:pt x="141" y="10"/>
                    <a:pt x="142" y="8"/>
                    <a:pt x="141" y="5"/>
                  </a:cubicBezTo>
                  <a:cubicBezTo>
                    <a:pt x="138" y="6"/>
                    <a:pt x="136" y="7"/>
                    <a:pt x="133" y="7"/>
                  </a:cubicBezTo>
                  <a:cubicBezTo>
                    <a:pt x="128" y="7"/>
                    <a:pt x="122" y="8"/>
                    <a:pt x="117" y="8"/>
                  </a:cubicBezTo>
                  <a:cubicBezTo>
                    <a:pt x="111" y="8"/>
                    <a:pt x="105" y="8"/>
                    <a:pt x="99" y="7"/>
                  </a:cubicBezTo>
                  <a:cubicBezTo>
                    <a:pt x="66" y="5"/>
                    <a:pt x="34" y="0"/>
                    <a:pt x="2" y="1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E8E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6" name="ïS1íḋê"/>
            <p:cNvSpPr/>
            <p:nvPr userDrawn="1"/>
          </p:nvSpPr>
          <p:spPr bwMode="auto">
            <a:xfrm>
              <a:off x="9828393" y="4074187"/>
              <a:ext cx="393348" cy="1696655"/>
            </a:xfrm>
            <a:custGeom>
              <a:avLst/>
              <a:gdLst>
                <a:gd name="T0" fmla="*/ 26 w 113"/>
                <a:gd name="T1" fmla="*/ 3 h 487"/>
                <a:gd name="T2" fmla="*/ 0 w 113"/>
                <a:gd name="T3" fmla="*/ 487 h 487"/>
                <a:gd name="T4" fmla="*/ 65 w 113"/>
                <a:gd name="T5" fmla="*/ 487 h 487"/>
                <a:gd name="T6" fmla="*/ 109 w 113"/>
                <a:gd name="T7" fmla="*/ 0 h 487"/>
                <a:gd name="T8" fmla="*/ 26 w 113"/>
                <a:gd name="T9" fmla="*/ 3 h 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487">
                  <a:moveTo>
                    <a:pt x="26" y="3"/>
                  </a:moveTo>
                  <a:cubicBezTo>
                    <a:pt x="0" y="487"/>
                    <a:pt x="0" y="487"/>
                    <a:pt x="0" y="487"/>
                  </a:cubicBezTo>
                  <a:cubicBezTo>
                    <a:pt x="65" y="487"/>
                    <a:pt x="65" y="487"/>
                    <a:pt x="65" y="487"/>
                  </a:cubicBezTo>
                  <a:cubicBezTo>
                    <a:pt x="65" y="487"/>
                    <a:pt x="113" y="120"/>
                    <a:pt x="109" y="0"/>
                  </a:cubicBezTo>
                  <a:cubicBezTo>
                    <a:pt x="26" y="3"/>
                    <a:pt x="26" y="3"/>
                    <a:pt x="26" y="3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7" name="ï$líḍe"/>
            <p:cNvSpPr/>
            <p:nvPr userDrawn="1"/>
          </p:nvSpPr>
          <p:spPr bwMode="auto">
            <a:xfrm>
              <a:off x="10176425" y="3911048"/>
              <a:ext cx="389722" cy="1852544"/>
            </a:xfrm>
            <a:custGeom>
              <a:avLst/>
              <a:gdLst>
                <a:gd name="T0" fmla="*/ 89 w 112"/>
                <a:gd name="T1" fmla="*/ 526 h 532"/>
                <a:gd name="T2" fmla="*/ 89 w 112"/>
                <a:gd name="T3" fmla="*/ 532 h 532"/>
                <a:gd name="T4" fmla="*/ 34 w 112"/>
                <a:gd name="T5" fmla="*/ 532 h 532"/>
                <a:gd name="T6" fmla="*/ 0 w 112"/>
                <a:gd name="T7" fmla="*/ 0 h 532"/>
                <a:gd name="T8" fmla="*/ 73 w 112"/>
                <a:gd name="T9" fmla="*/ 2 h 532"/>
                <a:gd name="T10" fmla="*/ 82 w 112"/>
                <a:gd name="T11" fmla="*/ 34 h 532"/>
                <a:gd name="T12" fmla="*/ 89 w 112"/>
                <a:gd name="T13" fmla="*/ 526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532">
                  <a:moveTo>
                    <a:pt x="89" y="526"/>
                  </a:moveTo>
                  <a:cubicBezTo>
                    <a:pt x="89" y="530"/>
                    <a:pt x="89" y="532"/>
                    <a:pt x="89" y="532"/>
                  </a:cubicBezTo>
                  <a:cubicBezTo>
                    <a:pt x="34" y="532"/>
                    <a:pt x="34" y="532"/>
                    <a:pt x="34" y="53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3" y="2"/>
                    <a:pt x="73" y="2"/>
                    <a:pt x="73" y="2"/>
                  </a:cubicBezTo>
                  <a:cubicBezTo>
                    <a:pt x="77" y="12"/>
                    <a:pt x="79" y="22"/>
                    <a:pt x="82" y="34"/>
                  </a:cubicBezTo>
                  <a:cubicBezTo>
                    <a:pt x="112" y="182"/>
                    <a:pt x="93" y="479"/>
                    <a:pt x="89" y="526"/>
                  </a:cubicBezTo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8" name="íŝļíďé"/>
            <p:cNvSpPr/>
            <p:nvPr userDrawn="1"/>
          </p:nvSpPr>
          <p:spPr bwMode="auto">
            <a:xfrm>
              <a:off x="10413885" y="4028872"/>
              <a:ext cx="152264" cy="1712970"/>
            </a:xfrm>
            <a:custGeom>
              <a:avLst/>
              <a:gdLst>
                <a:gd name="T0" fmla="*/ 21 w 44"/>
                <a:gd name="T1" fmla="*/ 492 h 492"/>
                <a:gd name="T2" fmla="*/ 9 w 44"/>
                <a:gd name="T3" fmla="*/ 475 h 492"/>
                <a:gd name="T4" fmla="*/ 5 w 44"/>
                <a:gd name="T5" fmla="*/ 426 h 492"/>
                <a:gd name="T6" fmla="*/ 10 w 44"/>
                <a:gd name="T7" fmla="*/ 313 h 492"/>
                <a:gd name="T8" fmla="*/ 16 w 44"/>
                <a:gd name="T9" fmla="*/ 188 h 492"/>
                <a:gd name="T10" fmla="*/ 18 w 44"/>
                <a:gd name="T11" fmla="*/ 121 h 492"/>
                <a:gd name="T12" fmla="*/ 12 w 44"/>
                <a:gd name="T13" fmla="*/ 62 h 492"/>
                <a:gd name="T14" fmla="*/ 1 w 44"/>
                <a:gd name="T15" fmla="*/ 18 h 492"/>
                <a:gd name="T16" fmla="*/ 14 w 44"/>
                <a:gd name="T17" fmla="*/ 0 h 492"/>
                <a:gd name="T18" fmla="*/ 21 w 44"/>
                <a:gd name="T19" fmla="*/ 492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92">
                  <a:moveTo>
                    <a:pt x="21" y="492"/>
                  </a:moveTo>
                  <a:cubicBezTo>
                    <a:pt x="16" y="487"/>
                    <a:pt x="12" y="481"/>
                    <a:pt x="9" y="475"/>
                  </a:cubicBezTo>
                  <a:cubicBezTo>
                    <a:pt x="3" y="460"/>
                    <a:pt x="4" y="443"/>
                    <a:pt x="5" y="426"/>
                  </a:cubicBezTo>
                  <a:cubicBezTo>
                    <a:pt x="6" y="389"/>
                    <a:pt x="8" y="351"/>
                    <a:pt x="10" y="313"/>
                  </a:cubicBezTo>
                  <a:cubicBezTo>
                    <a:pt x="12" y="271"/>
                    <a:pt x="14" y="230"/>
                    <a:pt x="16" y="188"/>
                  </a:cubicBezTo>
                  <a:cubicBezTo>
                    <a:pt x="18" y="166"/>
                    <a:pt x="19" y="144"/>
                    <a:pt x="18" y="121"/>
                  </a:cubicBezTo>
                  <a:cubicBezTo>
                    <a:pt x="18" y="102"/>
                    <a:pt x="16" y="82"/>
                    <a:pt x="12" y="62"/>
                  </a:cubicBezTo>
                  <a:cubicBezTo>
                    <a:pt x="9" y="48"/>
                    <a:pt x="1" y="33"/>
                    <a:pt x="1" y="18"/>
                  </a:cubicBezTo>
                  <a:cubicBezTo>
                    <a:pt x="0" y="7"/>
                    <a:pt x="6" y="2"/>
                    <a:pt x="14" y="0"/>
                  </a:cubicBezTo>
                  <a:cubicBezTo>
                    <a:pt x="44" y="148"/>
                    <a:pt x="25" y="445"/>
                    <a:pt x="21" y="492"/>
                  </a:cubicBezTo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49" name="ï$ļiḓe"/>
            <p:cNvSpPr/>
            <p:nvPr userDrawn="1"/>
          </p:nvSpPr>
          <p:spPr bwMode="auto">
            <a:xfrm>
              <a:off x="9893650" y="3064533"/>
              <a:ext cx="721441" cy="1134729"/>
            </a:xfrm>
            <a:custGeom>
              <a:avLst/>
              <a:gdLst>
                <a:gd name="T0" fmla="*/ 203 w 207"/>
                <a:gd name="T1" fmla="*/ 63 h 326"/>
                <a:gd name="T2" fmla="*/ 203 w 207"/>
                <a:gd name="T3" fmla="*/ 64 h 326"/>
                <a:gd name="T4" fmla="*/ 170 w 207"/>
                <a:gd name="T5" fmla="*/ 326 h 326"/>
                <a:gd name="T6" fmla="*/ 160 w 207"/>
                <a:gd name="T7" fmla="*/ 326 h 326"/>
                <a:gd name="T8" fmla="*/ 5 w 207"/>
                <a:gd name="T9" fmla="*/ 323 h 326"/>
                <a:gd name="T10" fmla="*/ 0 w 207"/>
                <a:gd name="T11" fmla="*/ 24 h 326"/>
                <a:gd name="T12" fmla="*/ 34 w 207"/>
                <a:gd name="T13" fmla="*/ 3 h 326"/>
                <a:gd name="T14" fmla="*/ 73 w 207"/>
                <a:gd name="T15" fmla="*/ 1 h 326"/>
                <a:gd name="T16" fmla="*/ 152 w 207"/>
                <a:gd name="T17" fmla="*/ 9 h 326"/>
                <a:gd name="T18" fmla="*/ 203 w 207"/>
                <a:gd name="T19" fmla="*/ 63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7" h="326">
                  <a:moveTo>
                    <a:pt x="203" y="63"/>
                  </a:moveTo>
                  <a:cubicBezTo>
                    <a:pt x="203" y="64"/>
                    <a:pt x="203" y="64"/>
                    <a:pt x="203" y="64"/>
                  </a:cubicBezTo>
                  <a:cubicBezTo>
                    <a:pt x="170" y="326"/>
                    <a:pt x="170" y="326"/>
                    <a:pt x="170" y="326"/>
                  </a:cubicBezTo>
                  <a:cubicBezTo>
                    <a:pt x="160" y="326"/>
                    <a:pt x="160" y="326"/>
                    <a:pt x="160" y="326"/>
                  </a:cubicBezTo>
                  <a:cubicBezTo>
                    <a:pt x="5" y="323"/>
                    <a:pt x="5" y="323"/>
                    <a:pt x="5" y="323"/>
                  </a:cubicBezTo>
                  <a:cubicBezTo>
                    <a:pt x="5" y="323"/>
                    <a:pt x="1" y="52"/>
                    <a:pt x="0" y="24"/>
                  </a:cubicBezTo>
                  <a:cubicBezTo>
                    <a:pt x="0" y="11"/>
                    <a:pt x="17" y="5"/>
                    <a:pt x="34" y="3"/>
                  </a:cubicBezTo>
                  <a:cubicBezTo>
                    <a:pt x="53" y="0"/>
                    <a:pt x="73" y="1"/>
                    <a:pt x="73" y="1"/>
                  </a:cubicBezTo>
                  <a:cubicBezTo>
                    <a:pt x="107" y="0"/>
                    <a:pt x="133" y="3"/>
                    <a:pt x="152" y="9"/>
                  </a:cubicBezTo>
                  <a:cubicBezTo>
                    <a:pt x="207" y="26"/>
                    <a:pt x="203" y="63"/>
                    <a:pt x="203" y="63"/>
                  </a:cubicBezTo>
                </a:path>
              </a:pathLst>
            </a:custGeom>
            <a:solidFill>
              <a:srgbClr val="FFB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0" name="íṧ1íḓé"/>
            <p:cNvSpPr/>
            <p:nvPr userDrawn="1"/>
          </p:nvSpPr>
          <p:spPr bwMode="auto">
            <a:xfrm>
              <a:off x="9096076" y="2828886"/>
              <a:ext cx="302714" cy="420538"/>
            </a:xfrm>
            <a:custGeom>
              <a:avLst/>
              <a:gdLst>
                <a:gd name="T0" fmla="*/ 82 w 87"/>
                <a:gd name="T1" fmla="*/ 100 h 121"/>
                <a:gd name="T2" fmla="*/ 69 w 87"/>
                <a:gd name="T3" fmla="*/ 74 h 121"/>
                <a:gd name="T4" fmla="*/ 58 w 87"/>
                <a:gd name="T5" fmla="*/ 46 h 121"/>
                <a:gd name="T6" fmla="*/ 10 w 87"/>
                <a:gd name="T7" fmla="*/ 3 h 121"/>
                <a:gd name="T8" fmla="*/ 3 w 87"/>
                <a:gd name="T9" fmla="*/ 3 h 121"/>
                <a:gd name="T10" fmla="*/ 7 w 87"/>
                <a:gd name="T11" fmla="*/ 11 h 121"/>
                <a:gd name="T12" fmla="*/ 31 w 87"/>
                <a:gd name="T13" fmla="*/ 34 h 121"/>
                <a:gd name="T14" fmla="*/ 14 w 87"/>
                <a:gd name="T15" fmla="*/ 66 h 121"/>
                <a:gd name="T16" fmla="*/ 46 w 87"/>
                <a:gd name="T17" fmla="*/ 95 h 121"/>
                <a:gd name="T18" fmla="*/ 63 w 87"/>
                <a:gd name="T19" fmla="*/ 121 h 121"/>
                <a:gd name="T20" fmla="*/ 87 w 87"/>
                <a:gd name="T21" fmla="*/ 107 h 121"/>
                <a:gd name="T22" fmla="*/ 82 w 87"/>
                <a:gd name="T23" fmla="*/ 10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7" h="121">
                  <a:moveTo>
                    <a:pt x="82" y="100"/>
                  </a:moveTo>
                  <a:cubicBezTo>
                    <a:pt x="69" y="74"/>
                    <a:pt x="69" y="74"/>
                    <a:pt x="69" y="74"/>
                  </a:cubicBezTo>
                  <a:cubicBezTo>
                    <a:pt x="69" y="74"/>
                    <a:pt x="73" y="68"/>
                    <a:pt x="58" y="46"/>
                  </a:cubicBezTo>
                  <a:cubicBezTo>
                    <a:pt x="43" y="24"/>
                    <a:pt x="10" y="3"/>
                    <a:pt x="10" y="3"/>
                  </a:cubicBezTo>
                  <a:cubicBezTo>
                    <a:pt x="10" y="3"/>
                    <a:pt x="7" y="0"/>
                    <a:pt x="3" y="3"/>
                  </a:cubicBezTo>
                  <a:cubicBezTo>
                    <a:pt x="0" y="6"/>
                    <a:pt x="7" y="11"/>
                    <a:pt x="7" y="11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1" y="34"/>
                    <a:pt x="3" y="51"/>
                    <a:pt x="14" y="66"/>
                  </a:cubicBezTo>
                  <a:cubicBezTo>
                    <a:pt x="25" y="81"/>
                    <a:pt x="38" y="91"/>
                    <a:pt x="46" y="95"/>
                  </a:cubicBezTo>
                  <a:cubicBezTo>
                    <a:pt x="55" y="99"/>
                    <a:pt x="63" y="121"/>
                    <a:pt x="63" y="121"/>
                  </a:cubicBezTo>
                  <a:cubicBezTo>
                    <a:pt x="87" y="107"/>
                    <a:pt x="87" y="107"/>
                    <a:pt x="87" y="107"/>
                  </a:cubicBezTo>
                  <a:lnTo>
                    <a:pt x="82" y="100"/>
                  </a:ln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1" name="ïśḷîdé"/>
            <p:cNvSpPr/>
            <p:nvPr userDrawn="1"/>
          </p:nvSpPr>
          <p:spPr bwMode="auto">
            <a:xfrm>
              <a:off x="9282781" y="3075409"/>
              <a:ext cx="817512" cy="755882"/>
            </a:xfrm>
            <a:custGeom>
              <a:avLst/>
              <a:gdLst>
                <a:gd name="T0" fmla="*/ 214 w 234"/>
                <a:gd name="T1" fmla="*/ 5 h 217"/>
                <a:gd name="T2" fmla="*/ 192 w 234"/>
                <a:gd name="T3" fmla="*/ 3 h 217"/>
                <a:gd name="T4" fmla="*/ 155 w 234"/>
                <a:gd name="T5" fmla="*/ 31 h 217"/>
                <a:gd name="T6" fmla="*/ 103 w 234"/>
                <a:gd name="T7" fmla="*/ 134 h 217"/>
                <a:gd name="T8" fmla="*/ 71 w 234"/>
                <a:gd name="T9" fmla="*/ 98 h 217"/>
                <a:gd name="T10" fmla="*/ 27 w 234"/>
                <a:gd name="T11" fmla="*/ 21 h 217"/>
                <a:gd name="T12" fmla="*/ 0 w 234"/>
                <a:gd name="T13" fmla="*/ 36 h 217"/>
                <a:gd name="T14" fmla="*/ 66 w 234"/>
                <a:gd name="T15" fmla="*/ 161 h 217"/>
                <a:gd name="T16" fmla="*/ 135 w 234"/>
                <a:gd name="T17" fmla="*/ 166 h 217"/>
                <a:gd name="T18" fmla="*/ 213 w 234"/>
                <a:gd name="T19" fmla="*/ 49 h 217"/>
                <a:gd name="T20" fmla="*/ 214 w 234"/>
                <a:gd name="T21" fmla="*/ 5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4" h="217">
                  <a:moveTo>
                    <a:pt x="214" y="5"/>
                  </a:moveTo>
                  <a:cubicBezTo>
                    <a:pt x="208" y="1"/>
                    <a:pt x="199" y="0"/>
                    <a:pt x="192" y="3"/>
                  </a:cubicBezTo>
                  <a:cubicBezTo>
                    <a:pt x="182" y="7"/>
                    <a:pt x="167" y="16"/>
                    <a:pt x="155" y="31"/>
                  </a:cubicBezTo>
                  <a:cubicBezTo>
                    <a:pt x="135" y="56"/>
                    <a:pt x="103" y="134"/>
                    <a:pt x="103" y="134"/>
                  </a:cubicBezTo>
                  <a:cubicBezTo>
                    <a:pt x="103" y="134"/>
                    <a:pt x="83" y="120"/>
                    <a:pt x="71" y="98"/>
                  </a:cubicBezTo>
                  <a:cubicBezTo>
                    <a:pt x="56" y="73"/>
                    <a:pt x="27" y="21"/>
                    <a:pt x="27" y="2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66" y="161"/>
                    <a:pt x="66" y="161"/>
                    <a:pt x="66" y="161"/>
                  </a:cubicBezTo>
                  <a:cubicBezTo>
                    <a:pt x="66" y="161"/>
                    <a:pt x="92" y="217"/>
                    <a:pt x="135" y="166"/>
                  </a:cubicBezTo>
                  <a:cubicBezTo>
                    <a:pt x="179" y="114"/>
                    <a:pt x="213" y="49"/>
                    <a:pt x="213" y="49"/>
                  </a:cubicBezTo>
                  <a:cubicBezTo>
                    <a:pt x="213" y="49"/>
                    <a:pt x="234" y="19"/>
                    <a:pt x="214" y="5"/>
                  </a:cubicBezTo>
                  <a:close/>
                </a:path>
              </a:pathLst>
            </a:custGeom>
            <a:solidFill>
              <a:srgbClr val="FFB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2" name="iš1iḑé"/>
            <p:cNvSpPr/>
            <p:nvPr userDrawn="1"/>
          </p:nvSpPr>
          <p:spPr bwMode="auto">
            <a:xfrm>
              <a:off x="10011474" y="3064533"/>
              <a:ext cx="411475" cy="139576"/>
            </a:xfrm>
            <a:custGeom>
              <a:avLst/>
              <a:gdLst>
                <a:gd name="T0" fmla="*/ 118 w 118"/>
                <a:gd name="T1" fmla="*/ 9 h 40"/>
                <a:gd name="T2" fmla="*/ 117 w 118"/>
                <a:gd name="T3" fmla="*/ 9 h 40"/>
                <a:gd name="T4" fmla="*/ 19 w 118"/>
                <a:gd name="T5" fmla="*/ 21 h 40"/>
                <a:gd name="T6" fmla="*/ 0 w 118"/>
                <a:gd name="T7" fmla="*/ 3 h 40"/>
                <a:gd name="T8" fmla="*/ 39 w 118"/>
                <a:gd name="T9" fmla="*/ 1 h 40"/>
                <a:gd name="T10" fmla="*/ 118 w 118"/>
                <a:gd name="T11" fmla="*/ 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8" h="40">
                  <a:moveTo>
                    <a:pt x="118" y="9"/>
                  </a:moveTo>
                  <a:cubicBezTo>
                    <a:pt x="117" y="9"/>
                    <a:pt x="117" y="9"/>
                    <a:pt x="117" y="9"/>
                  </a:cubicBezTo>
                  <a:cubicBezTo>
                    <a:pt x="92" y="34"/>
                    <a:pt x="49" y="40"/>
                    <a:pt x="19" y="21"/>
                  </a:cubicBezTo>
                  <a:cubicBezTo>
                    <a:pt x="13" y="18"/>
                    <a:pt x="5" y="11"/>
                    <a:pt x="0" y="3"/>
                  </a:cubicBezTo>
                  <a:cubicBezTo>
                    <a:pt x="19" y="0"/>
                    <a:pt x="39" y="1"/>
                    <a:pt x="39" y="1"/>
                  </a:cubicBezTo>
                  <a:cubicBezTo>
                    <a:pt x="73" y="0"/>
                    <a:pt x="99" y="3"/>
                    <a:pt x="118" y="9"/>
                  </a:cubicBez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3" name="ïŝļíďé"/>
            <p:cNvSpPr/>
            <p:nvPr userDrawn="1"/>
          </p:nvSpPr>
          <p:spPr bwMode="auto">
            <a:xfrm>
              <a:off x="9228401" y="3949114"/>
              <a:ext cx="2254956" cy="888206"/>
            </a:xfrm>
            <a:custGeom>
              <a:avLst/>
              <a:gdLst>
                <a:gd name="T0" fmla="*/ 1244 w 1244"/>
                <a:gd name="T1" fmla="*/ 402 h 490"/>
                <a:gd name="T2" fmla="*/ 1213 w 1244"/>
                <a:gd name="T3" fmla="*/ 490 h 490"/>
                <a:gd name="T4" fmla="*/ 88 w 1244"/>
                <a:gd name="T5" fmla="*/ 87 h 490"/>
                <a:gd name="T6" fmla="*/ 0 w 1244"/>
                <a:gd name="T7" fmla="*/ 6 h 490"/>
                <a:gd name="T8" fmla="*/ 119 w 1244"/>
                <a:gd name="T9" fmla="*/ 0 h 490"/>
                <a:gd name="T10" fmla="*/ 1244 w 1244"/>
                <a:gd name="T11" fmla="*/ 402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4" h="490">
                  <a:moveTo>
                    <a:pt x="1244" y="402"/>
                  </a:moveTo>
                  <a:lnTo>
                    <a:pt x="1213" y="490"/>
                  </a:lnTo>
                  <a:lnTo>
                    <a:pt x="88" y="87"/>
                  </a:lnTo>
                  <a:lnTo>
                    <a:pt x="0" y="6"/>
                  </a:lnTo>
                  <a:lnTo>
                    <a:pt x="119" y="0"/>
                  </a:lnTo>
                  <a:lnTo>
                    <a:pt x="1244" y="40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4" name="işḻiḋe"/>
            <p:cNvSpPr/>
            <p:nvPr userDrawn="1"/>
          </p:nvSpPr>
          <p:spPr bwMode="auto">
            <a:xfrm>
              <a:off x="9228401" y="3949114"/>
              <a:ext cx="2254956" cy="888206"/>
            </a:xfrm>
            <a:custGeom>
              <a:avLst/>
              <a:gdLst>
                <a:gd name="T0" fmla="*/ 1244 w 1244"/>
                <a:gd name="T1" fmla="*/ 402 h 490"/>
                <a:gd name="T2" fmla="*/ 1213 w 1244"/>
                <a:gd name="T3" fmla="*/ 490 h 490"/>
                <a:gd name="T4" fmla="*/ 88 w 1244"/>
                <a:gd name="T5" fmla="*/ 87 h 490"/>
                <a:gd name="T6" fmla="*/ 0 w 1244"/>
                <a:gd name="T7" fmla="*/ 6 h 490"/>
                <a:gd name="T8" fmla="*/ 119 w 1244"/>
                <a:gd name="T9" fmla="*/ 0 h 490"/>
                <a:gd name="T10" fmla="*/ 1244 w 1244"/>
                <a:gd name="T11" fmla="*/ 402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44" h="490">
                  <a:moveTo>
                    <a:pt x="1244" y="402"/>
                  </a:moveTo>
                  <a:lnTo>
                    <a:pt x="1213" y="490"/>
                  </a:lnTo>
                  <a:lnTo>
                    <a:pt x="88" y="87"/>
                  </a:lnTo>
                  <a:lnTo>
                    <a:pt x="0" y="6"/>
                  </a:lnTo>
                  <a:lnTo>
                    <a:pt x="119" y="0"/>
                  </a:lnTo>
                  <a:lnTo>
                    <a:pt x="1244" y="40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5" name="ïšľiďè"/>
            <p:cNvSpPr/>
            <p:nvPr userDrawn="1"/>
          </p:nvSpPr>
          <p:spPr bwMode="auto">
            <a:xfrm>
              <a:off x="9228401" y="3949114"/>
              <a:ext cx="222957" cy="157703"/>
            </a:xfrm>
            <a:custGeom>
              <a:avLst/>
              <a:gdLst>
                <a:gd name="T0" fmla="*/ 60 w 64"/>
                <a:gd name="T1" fmla="*/ 25 h 45"/>
                <a:gd name="T2" fmla="*/ 46 w 64"/>
                <a:gd name="T3" fmla="*/ 45 h 45"/>
                <a:gd name="T4" fmla="*/ 46 w 64"/>
                <a:gd name="T5" fmla="*/ 45 h 45"/>
                <a:gd name="T6" fmla="*/ 23 w 64"/>
                <a:gd name="T7" fmla="*/ 24 h 45"/>
                <a:gd name="T8" fmla="*/ 0 w 64"/>
                <a:gd name="T9" fmla="*/ 3 h 45"/>
                <a:gd name="T10" fmla="*/ 31 w 64"/>
                <a:gd name="T11" fmla="*/ 1 h 45"/>
                <a:gd name="T12" fmla="*/ 62 w 64"/>
                <a:gd name="T13" fmla="*/ 0 h 45"/>
                <a:gd name="T14" fmla="*/ 62 w 64"/>
                <a:gd name="T15" fmla="*/ 0 h 45"/>
                <a:gd name="T16" fmla="*/ 60 w 64"/>
                <a:gd name="T17" fmla="*/ 2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45">
                  <a:moveTo>
                    <a:pt x="60" y="25"/>
                  </a:moveTo>
                  <a:cubicBezTo>
                    <a:pt x="57" y="33"/>
                    <a:pt x="52" y="40"/>
                    <a:pt x="46" y="45"/>
                  </a:cubicBezTo>
                  <a:cubicBezTo>
                    <a:pt x="46" y="45"/>
                    <a:pt x="46" y="45"/>
                    <a:pt x="46" y="45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4" y="8"/>
                    <a:pt x="63" y="16"/>
                    <a:pt x="60" y="25"/>
                  </a:cubicBezTo>
                </a:path>
              </a:pathLst>
            </a:custGeom>
            <a:solidFill>
              <a:srgbClr val="FBC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6" name="ïṩľîḑe"/>
            <p:cNvSpPr/>
            <p:nvPr userDrawn="1"/>
          </p:nvSpPr>
          <p:spPr bwMode="auto">
            <a:xfrm>
              <a:off x="9228401" y="3952739"/>
              <a:ext cx="110572" cy="79758"/>
            </a:xfrm>
            <a:custGeom>
              <a:avLst/>
              <a:gdLst>
                <a:gd name="T0" fmla="*/ 30 w 32"/>
                <a:gd name="T1" fmla="*/ 13 h 23"/>
                <a:gd name="T2" fmla="*/ 23 w 32"/>
                <a:gd name="T3" fmla="*/ 23 h 23"/>
                <a:gd name="T4" fmla="*/ 0 w 32"/>
                <a:gd name="T5" fmla="*/ 2 h 23"/>
                <a:gd name="T6" fmla="*/ 31 w 32"/>
                <a:gd name="T7" fmla="*/ 0 h 23"/>
                <a:gd name="T8" fmla="*/ 30 w 32"/>
                <a:gd name="T9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3">
                  <a:moveTo>
                    <a:pt x="30" y="13"/>
                  </a:moveTo>
                  <a:cubicBezTo>
                    <a:pt x="29" y="17"/>
                    <a:pt x="26" y="21"/>
                    <a:pt x="23" y="2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2" y="5"/>
                    <a:pt x="32" y="9"/>
                    <a:pt x="30" y="13"/>
                  </a:cubicBezTo>
                </a:path>
              </a:pathLst>
            </a:custGeom>
            <a:solidFill>
              <a:srgbClr val="FC6D5D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7" name="íşļïḋê"/>
            <p:cNvSpPr/>
            <p:nvPr userDrawn="1"/>
          </p:nvSpPr>
          <p:spPr bwMode="auto">
            <a:xfrm>
              <a:off x="11323843" y="4637928"/>
              <a:ext cx="212082" cy="213894"/>
            </a:xfrm>
            <a:custGeom>
              <a:avLst/>
              <a:gdLst>
                <a:gd name="T0" fmla="*/ 36 w 61"/>
                <a:gd name="T1" fmla="*/ 59 h 61"/>
                <a:gd name="T2" fmla="*/ 0 w 61"/>
                <a:gd name="T3" fmla="*/ 46 h 61"/>
                <a:gd name="T4" fmla="*/ 17 w 61"/>
                <a:gd name="T5" fmla="*/ 0 h 61"/>
                <a:gd name="T6" fmla="*/ 52 w 61"/>
                <a:gd name="T7" fmla="*/ 13 h 61"/>
                <a:gd name="T8" fmla="*/ 59 w 61"/>
                <a:gd name="T9" fmla="*/ 27 h 61"/>
                <a:gd name="T10" fmla="*/ 50 w 61"/>
                <a:gd name="T11" fmla="*/ 52 h 61"/>
                <a:gd name="T12" fmla="*/ 36 w 61"/>
                <a:gd name="T13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61">
                  <a:moveTo>
                    <a:pt x="36" y="59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8" y="15"/>
                    <a:pt x="61" y="21"/>
                    <a:pt x="59" y="27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48" y="58"/>
                    <a:pt x="42" y="61"/>
                    <a:pt x="36" y="59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58" name="îŝḷide"/>
            <p:cNvSpPr/>
            <p:nvPr userDrawn="1"/>
          </p:nvSpPr>
          <p:spPr bwMode="auto">
            <a:xfrm>
              <a:off x="11291216" y="4628863"/>
              <a:ext cx="90634" cy="170390"/>
            </a:xfrm>
            <a:custGeom>
              <a:avLst/>
              <a:gdLst>
                <a:gd name="T0" fmla="*/ 18 w 50"/>
                <a:gd name="T1" fmla="*/ 94 h 94"/>
                <a:gd name="T2" fmla="*/ 0 w 50"/>
                <a:gd name="T3" fmla="*/ 88 h 94"/>
                <a:gd name="T4" fmla="*/ 33 w 50"/>
                <a:gd name="T5" fmla="*/ 0 h 94"/>
                <a:gd name="T6" fmla="*/ 50 w 50"/>
                <a:gd name="T7" fmla="*/ 5 h 94"/>
                <a:gd name="T8" fmla="*/ 18 w 50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94">
                  <a:moveTo>
                    <a:pt x="18" y="94"/>
                  </a:moveTo>
                  <a:lnTo>
                    <a:pt x="0" y="88"/>
                  </a:lnTo>
                  <a:lnTo>
                    <a:pt x="33" y="0"/>
                  </a:lnTo>
                  <a:lnTo>
                    <a:pt x="50" y="5"/>
                  </a:lnTo>
                  <a:lnTo>
                    <a:pt x="18" y="94"/>
                  </a:lnTo>
                  <a:close/>
                </a:path>
              </a:pathLst>
            </a:custGeom>
            <a:solidFill>
              <a:srgbClr val="FFE3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59" name="î$ḻíḍê"/>
            <p:cNvSpPr/>
            <p:nvPr userDrawn="1"/>
          </p:nvSpPr>
          <p:spPr bwMode="auto">
            <a:xfrm>
              <a:off x="11291216" y="4628863"/>
              <a:ext cx="90634" cy="170390"/>
            </a:xfrm>
            <a:custGeom>
              <a:avLst/>
              <a:gdLst>
                <a:gd name="T0" fmla="*/ 18 w 50"/>
                <a:gd name="T1" fmla="*/ 94 h 94"/>
                <a:gd name="T2" fmla="*/ 0 w 50"/>
                <a:gd name="T3" fmla="*/ 88 h 94"/>
                <a:gd name="T4" fmla="*/ 33 w 50"/>
                <a:gd name="T5" fmla="*/ 0 h 94"/>
                <a:gd name="T6" fmla="*/ 50 w 50"/>
                <a:gd name="T7" fmla="*/ 5 h 94"/>
                <a:gd name="T8" fmla="*/ 18 w 50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94">
                  <a:moveTo>
                    <a:pt x="18" y="94"/>
                  </a:moveTo>
                  <a:lnTo>
                    <a:pt x="0" y="88"/>
                  </a:lnTo>
                  <a:lnTo>
                    <a:pt x="33" y="0"/>
                  </a:lnTo>
                  <a:lnTo>
                    <a:pt x="50" y="5"/>
                  </a:lnTo>
                  <a:lnTo>
                    <a:pt x="18" y="9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0" name="îṣ1îḑe"/>
            <p:cNvSpPr/>
            <p:nvPr userDrawn="1"/>
          </p:nvSpPr>
          <p:spPr bwMode="auto">
            <a:xfrm>
              <a:off x="9908151" y="4112255"/>
              <a:ext cx="3625" cy="1814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1" name="íSḻîḋe"/>
            <p:cNvSpPr/>
            <p:nvPr userDrawn="1"/>
          </p:nvSpPr>
          <p:spPr bwMode="auto">
            <a:xfrm>
              <a:off x="9726884" y="4046998"/>
              <a:ext cx="181267" cy="65256"/>
            </a:xfrm>
            <a:custGeom>
              <a:avLst/>
              <a:gdLst>
                <a:gd name="T0" fmla="*/ 0 w 100"/>
                <a:gd name="T1" fmla="*/ 0 h 36"/>
                <a:gd name="T2" fmla="*/ 0 w 100"/>
                <a:gd name="T3" fmla="*/ 2 h 36"/>
                <a:gd name="T4" fmla="*/ 100 w 100"/>
                <a:gd name="T5" fmla="*/ 36 h 36"/>
                <a:gd name="T6" fmla="*/ 100 w 100"/>
                <a:gd name="T7" fmla="*/ 36 h 36"/>
                <a:gd name="T8" fmla="*/ 0 w 10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36">
                  <a:moveTo>
                    <a:pt x="0" y="0"/>
                  </a:moveTo>
                  <a:lnTo>
                    <a:pt x="0" y="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0D4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2" name="i$1íďê"/>
            <p:cNvSpPr/>
            <p:nvPr userDrawn="1"/>
          </p:nvSpPr>
          <p:spPr bwMode="auto">
            <a:xfrm>
              <a:off x="9726884" y="4046998"/>
              <a:ext cx="181267" cy="65256"/>
            </a:xfrm>
            <a:custGeom>
              <a:avLst/>
              <a:gdLst>
                <a:gd name="T0" fmla="*/ 0 w 100"/>
                <a:gd name="T1" fmla="*/ 0 h 36"/>
                <a:gd name="T2" fmla="*/ 0 w 100"/>
                <a:gd name="T3" fmla="*/ 2 h 36"/>
                <a:gd name="T4" fmla="*/ 100 w 100"/>
                <a:gd name="T5" fmla="*/ 36 h 36"/>
                <a:gd name="T6" fmla="*/ 100 w 100"/>
                <a:gd name="T7" fmla="*/ 36 h 36"/>
                <a:gd name="T8" fmla="*/ 0 w 100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36">
                  <a:moveTo>
                    <a:pt x="0" y="0"/>
                  </a:moveTo>
                  <a:lnTo>
                    <a:pt x="0" y="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3" name="isḷiḑè"/>
            <p:cNvSpPr/>
            <p:nvPr userDrawn="1"/>
          </p:nvSpPr>
          <p:spPr bwMode="auto">
            <a:xfrm>
              <a:off x="9228401" y="3945489"/>
              <a:ext cx="498482" cy="105135"/>
            </a:xfrm>
            <a:custGeom>
              <a:avLst/>
              <a:gdLst>
                <a:gd name="T0" fmla="*/ 62 w 143"/>
                <a:gd name="T1" fmla="*/ 0 h 30"/>
                <a:gd name="T2" fmla="*/ 0 w 143"/>
                <a:gd name="T3" fmla="*/ 4 h 30"/>
                <a:gd name="T4" fmla="*/ 0 w 143"/>
                <a:gd name="T5" fmla="*/ 4 h 30"/>
                <a:gd name="T6" fmla="*/ 1 w 143"/>
                <a:gd name="T7" fmla="*/ 4 h 30"/>
                <a:gd name="T8" fmla="*/ 62 w 143"/>
                <a:gd name="T9" fmla="*/ 1 h 30"/>
                <a:gd name="T10" fmla="*/ 62 w 143"/>
                <a:gd name="T11" fmla="*/ 1 h 30"/>
                <a:gd name="T12" fmla="*/ 62 w 143"/>
                <a:gd name="T13" fmla="*/ 1 h 30"/>
                <a:gd name="T14" fmla="*/ 143 w 143"/>
                <a:gd name="T15" fmla="*/ 30 h 30"/>
                <a:gd name="T16" fmla="*/ 143 w 143"/>
                <a:gd name="T17" fmla="*/ 29 h 30"/>
                <a:gd name="T18" fmla="*/ 62 w 143"/>
                <a:gd name="T19" fmla="*/ 0 h 30"/>
                <a:gd name="T20" fmla="*/ 62 w 143"/>
                <a:gd name="T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3" h="30">
                  <a:moveTo>
                    <a:pt x="62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29"/>
                    <a:pt x="143" y="29"/>
                    <a:pt x="143" y="29"/>
                  </a:cubicBezTo>
                  <a:cubicBezTo>
                    <a:pt x="62" y="0"/>
                    <a:pt x="62" y="0"/>
                    <a:pt x="62" y="0"/>
                  </a:cubicBezTo>
                  <a:cubicBezTo>
                    <a:pt x="62" y="0"/>
                    <a:pt x="62" y="0"/>
                    <a:pt x="62" y="0"/>
                  </a:cubicBezTo>
                </a:path>
              </a:pathLst>
            </a:custGeom>
            <a:solidFill>
              <a:srgbClr val="E1E2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4" name="íşḷíḍé"/>
            <p:cNvSpPr/>
            <p:nvPr userDrawn="1"/>
          </p:nvSpPr>
          <p:spPr bwMode="auto">
            <a:xfrm>
              <a:off x="10500893" y="4326149"/>
              <a:ext cx="1013279" cy="364347"/>
            </a:xfrm>
            <a:custGeom>
              <a:avLst/>
              <a:gdLst>
                <a:gd name="T0" fmla="*/ 0 w 291"/>
                <a:gd name="T1" fmla="*/ 0 h 105"/>
                <a:gd name="T2" fmla="*/ 0 w 291"/>
                <a:gd name="T3" fmla="*/ 0 h 105"/>
                <a:gd name="T4" fmla="*/ 282 w 291"/>
                <a:gd name="T5" fmla="*/ 101 h 105"/>
                <a:gd name="T6" fmla="*/ 288 w 291"/>
                <a:gd name="T7" fmla="*/ 103 h 105"/>
                <a:gd name="T8" fmla="*/ 291 w 291"/>
                <a:gd name="T9" fmla="*/ 105 h 105"/>
                <a:gd name="T10" fmla="*/ 288 w 291"/>
                <a:gd name="T11" fmla="*/ 102 h 105"/>
                <a:gd name="T12" fmla="*/ 282 w 291"/>
                <a:gd name="T13" fmla="*/ 101 h 105"/>
                <a:gd name="T14" fmla="*/ 253 w 291"/>
                <a:gd name="T15" fmla="*/ 90 h 105"/>
                <a:gd name="T16" fmla="*/ 244 w 291"/>
                <a:gd name="T17" fmla="*/ 87 h 105"/>
                <a:gd name="T18" fmla="*/ 0 w 291"/>
                <a:gd name="T19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1" h="105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282" y="101"/>
                    <a:pt x="282" y="101"/>
                    <a:pt x="282" y="101"/>
                  </a:cubicBezTo>
                  <a:cubicBezTo>
                    <a:pt x="288" y="103"/>
                    <a:pt x="288" y="103"/>
                    <a:pt x="288" y="103"/>
                  </a:cubicBezTo>
                  <a:cubicBezTo>
                    <a:pt x="289" y="103"/>
                    <a:pt x="290" y="104"/>
                    <a:pt x="291" y="105"/>
                  </a:cubicBezTo>
                  <a:cubicBezTo>
                    <a:pt x="290" y="104"/>
                    <a:pt x="289" y="103"/>
                    <a:pt x="288" y="102"/>
                  </a:cubicBezTo>
                  <a:cubicBezTo>
                    <a:pt x="282" y="101"/>
                    <a:pt x="282" y="101"/>
                    <a:pt x="282" y="101"/>
                  </a:cubicBezTo>
                  <a:cubicBezTo>
                    <a:pt x="253" y="90"/>
                    <a:pt x="253" y="90"/>
                    <a:pt x="253" y="90"/>
                  </a:cubicBezTo>
                  <a:cubicBezTo>
                    <a:pt x="244" y="87"/>
                    <a:pt x="244" y="87"/>
                    <a:pt x="244" y="87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5" name="îṩ1îdê"/>
            <p:cNvSpPr/>
            <p:nvPr userDrawn="1"/>
          </p:nvSpPr>
          <p:spPr bwMode="auto">
            <a:xfrm>
              <a:off x="10131109" y="4193824"/>
              <a:ext cx="65256" cy="23565"/>
            </a:xfrm>
            <a:custGeom>
              <a:avLst/>
              <a:gdLst>
                <a:gd name="T0" fmla="*/ 0 w 36"/>
                <a:gd name="T1" fmla="*/ 0 h 13"/>
                <a:gd name="T2" fmla="*/ 36 w 36"/>
                <a:gd name="T3" fmla="*/ 13 h 13"/>
                <a:gd name="T4" fmla="*/ 36 w 36"/>
                <a:gd name="T5" fmla="*/ 11 h 13"/>
                <a:gd name="T6" fmla="*/ 2 w 36"/>
                <a:gd name="T7" fmla="*/ 0 h 13"/>
                <a:gd name="T8" fmla="*/ 0 w 3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3">
                  <a:moveTo>
                    <a:pt x="0" y="0"/>
                  </a:moveTo>
                  <a:lnTo>
                    <a:pt x="36" y="13"/>
                  </a:lnTo>
                  <a:lnTo>
                    <a:pt x="36" y="11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39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6" name="iṧľíḍe"/>
            <p:cNvSpPr/>
            <p:nvPr userDrawn="1"/>
          </p:nvSpPr>
          <p:spPr bwMode="auto">
            <a:xfrm>
              <a:off x="10131109" y="4193824"/>
              <a:ext cx="65256" cy="23565"/>
            </a:xfrm>
            <a:custGeom>
              <a:avLst/>
              <a:gdLst>
                <a:gd name="T0" fmla="*/ 0 w 36"/>
                <a:gd name="T1" fmla="*/ 0 h 13"/>
                <a:gd name="T2" fmla="*/ 36 w 36"/>
                <a:gd name="T3" fmla="*/ 13 h 13"/>
                <a:gd name="T4" fmla="*/ 36 w 36"/>
                <a:gd name="T5" fmla="*/ 11 h 13"/>
                <a:gd name="T6" fmla="*/ 2 w 36"/>
                <a:gd name="T7" fmla="*/ 0 h 13"/>
                <a:gd name="T8" fmla="*/ 0 w 36"/>
                <a:gd name="T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3">
                  <a:moveTo>
                    <a:pt x="0" y="0"/>
                  </a:moveTo>
                  <a:lnTo>
                    <a:pt x="36" y="13"/>
                  </a:lnTo>
                  <a:lnTo>
                    <a:pt x="36" y="11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7" name="išľîďê"/>
            <p:cNvSpPr/>
            <p:nvPr userDrawn="1"/>
          </p:nvSpPr>
          <p:spPr bwMode="auto">
            <a:xfrm>
              <a:off x="10196365" y="4213764"/>
              <a:ext cx="268274" cy="97884"/>
            </a:xfrm>
            <a:custGeom>
              <a:avLst/>
              <a:gdLst>
                <a:gd name="T0" fmla="*/ 0 w 77"/>
                <a:gd name="T1" fmla="*/ 0 h 28"/>
                <a:gd name="T2" fmla="*/ 0 w 77"/>
                <a:gd name="T3" fmla="*/ 1 h 28"/>
                <a:gd name="T4" fmla="*/ 77 w 77"/>
                <a:gd name="T5" fmla="*/ 28 h 28"/>
                <a:gd name="T6" fmla="*/ 77 w 77"/>
                <a:gd name="T7" fmla="*/ 28 h 28"/>
                <a:gd name="T8" fmla="*/ 0 w 77"/>
                <a:gd name="T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28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F39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8" name="ïśľïḍe"/>
            <p:cNvSpPr/>
            <p:nvPr userDrawn="1"/>
          </p:nvSpPr>
          <p:spPr bwMode="auto">
            <a:xfrm>
              <a:off x="10464639" y="4311647"/>
              <a:ext cx="36254" cy="14501"/>
            </a:xfrm>
            <a:custGeom>
              <a:avLst/>
              <a:gdLst>
                <a:gd name="T0" fmla="*/ 0 w 10"/>
                <a:gd name="T1" fmla="*/ 0 h 4"/>
                <a:gd name="T2" fmla="*/ 0 w 10"/>
                <a:gd name="T3" fmla="*/ 0 h 4"/>
                <a:gd name="T4" fmla="*/ 10 w 10"/>
                <a:gd name="T5" fmla="*/ 4 h 4"/>
                <a:gd name="T6" fmla="*/ 10 w 10"/>
                <a:gd name="T7" fmla="*/ 4 h 4"/>
                <a:gd name="T8" fmla="*/ 0 w 10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4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632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69" name="ïṣḻîḋé"/>
            <p:cNvSpPr/>
            <p:nvPr userDrawn="1"/>
          </p:nvSpPr>
          <p:spPr bwMode="auto">
            <a:xfrm>
              <a:off x="9911776" y="4112255"/>
              <a:ext cx="222957" cy="81570"/>
            </a:xfrm>
            <a:custGeom>
              <a:avLst/>
              <a:gdLst>
                <a:gd name="T0" fmla="*/ 0 w 64"/>
                <a:gd name="T1" fmla="*/ 0 h 23"/>
                <a:gd name="T2" fmla="*/ 0 w 64"/>
                <a:gd name="T3" fmla="*/ 0 h 23"/>
                <a:gd name="T4" fmla="*/ 63 w 64"/>
                <a:gd name="T5" fmla="*/ 23 h 23"/>
                <a:gd name="T6" fmla="*/ 64 w 64"/>
                <a:gd name="T7" fmla="*/ 23 h 23"/>
                <a:gd name="T8" fmla="*/ 0 w 64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2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A8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0" name="íŝļîďê"/>
            <p:cNvSpPr/>
            <p:nvPr userDrawn="1"/>
          </p:nvSpPr>
          <p:spPr bwMode="auto">
            <a:xfrm>
              <a:off x="11514174" y="4735812"/>
              <a:ext cx="14501" cy="38066"/>
            </a:xfrm>
            <a:custGeom>
              <a:avLst/>
              <a:gdLst>
                <a:gd name="T0" fmla="*/ 4 w 4"/>
                <a:gd name="T1" fmla="*/ 0 h 11"/>
                <a:gd name="T2" fmla="*/ 0 w 4"/>
                <a:gd name="T3" fmla="*/ 11 h 11"/>
                <a:gd name="T4" fmla="*/ 0 w 4"/>
                <a:gd name="T5" fmla="*/ 11 h 11"/>
                <a:gd name="T6" fmla="*/ 4 w 4"/>
                <a:gd name="T7" fmla="*/ 0 h 11"/>
                <a:gd name="T8" fmla="*/ 4 w 4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11">
                  <a:moveTo>
                    <a:pt x="4" y="0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1" name="íṧḷîḓé"/>
            <p:cNvSpPr/>
            <p:nvPr userDrawn="1"/>
          </p:nvSpPr>
          <p:spPr bwMode="auto">
            <a:xfrm>
              <a:off x="11323843" y="4628863"/>
              <a:ext cx="58005" cy="90634"/>
            </a:xfrm>
            <a:custGeom>
              <a:avLst/>
              <a:gdLst>
                <a:gd name="T0" fmla="*/ 15 w 32"/>
                <a:gd name="T1" fmla="*/ 0 h 50"/>
                <a:gd name="T2" fmla="*/ 0 w 32"/>
                <a:gd name="T3" fmla="*/ 44 h 50"/>
                <a:gd name="T4" fmla="*/ 17 w 32"/>
                <a:gd name="T5" fmla="*/ 50 h 50"/>
                <a:gd name="T6" fmla="*/ 32 w 32"/>
                <a:gd name="T7" fmla="*/ 5 h 50"/>
                <a:gd name="T8" fmla="*/ 15 w 32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50">
                  <a:moveTo>
                    <a:pt x="15" y="0"/>
                  </a:moveTo>
                  <a:lnTo>
                    <a:pt x="0" y="44"/>
                  </a:lnTo>
                  <a:lnTo>
                    <a:pt x="17" y="50"/>
                  </a:lnTo>
                  <a:lnTo>
                    <a:pt x="32" y="5"/>
                  </a:lnTo>
                  <a:lnTo>
                    <a:pt x="1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2" name="ïṣḻíḑé"/>
            <p:cNvSpPr/>
            <p:nvPr userDrawn="1"/>
          </p:nvSpPr>
          <p:spPr bwMode="auto">
            <a:xfrm>
              <a:off x="10433824" y="3287491"/>
              <a:ext cx="166765" cy="911771"/>
            </a:xfrm>
            <a:custGeom>
              <a:avLst/>
              <a:gdLst>
                <a:gd name="T0" fmla="*/ 48 w 48"/>
                <a:gd name="T1" fmla="*/ 0 h 262"/>
                <a:gd name="T2" fmla="*/ 7 w 48"/>
                <a:gd name="T3" fmla="*/ 54 h 262"/>
                <a:gd name="T4" fmla="*/ 6 w 48"/>
                <a:gd name="T5" fmla="*/ 113 h 262"/>
                <a:gd name="T6" fmla="*/ 0 w 48"/>
                <a:gd name="T7" fmla="*/ 232 h 262"/>
                <a:gd name="T8" fmla="*/ 3 w 48"/>
                <a:gd name="T9" fmla="*/ 259 h 262"/>
                <a:gd name="T10" fmla="*/ 5 w 48"/>
                <a:gd name="T11" fmla="*/ 262 h 262"/>
                <a:gd name="T12" fmla="*/ 15 w 48"/>
                <a:gd name="T13" fmla="*/ 262 h 262"/>
                <a:gd name="T14" fmla="*/ 48 w 48"/>
                <a:gd name="T15" fmla="*/ 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262">
                  <a:moveTo>
                    <a:pt x="48" y="0"/>
                  </a:moveTo>
                  <a:cubicBezTo>
                    <a:pt x="23" y="2"/>
                    <a:pt x="11" y="33"/>
                    <a:pt x="7" y="54"/>
                  </a:cubicBezTo>
                  <a:cubicBezTo>
                    <a:pt x="4" y="74"/>
                    <a:pt x="6" y="94"/>
                    <a:pt x="6" y="113"/>
                  </a:cubicBezTo>
                  <a:cubicBezTo>
                    <a:pt x="6" y="153"/>
                    <a:pt x="2" y="193"/>
                    <a:pt x="0" y="232"/>
                  </a:cubicBezTo>
                  <a:cubicBezTo>
                    <a:pt x="0" y="241"/>
                    <a:pt x="0" y="251"/>
                    <a:pt x="3" y="259"/>
                  </a:cubicBezTo>
                  <a:cubicBezTo>
                    <a:pt x="4" y="260"/>
                    <a:pt x="4" y="261"/>
                    <a:pt x="5" y="262"/>
                  </a:cubicBezTo>
                  <a:cubicBezTo>
                    <a:pt x="15" y="262"/>
                    <a:pt x="15" y="262"/>
                    <a:pt x="15" y="262"/>
                  </a:cubicBezTo>
                  <a:cubicBezTo>
                    <a:pt x="48" y="0"/>
                    <a:pt x="48" y="0"/>
                    <a:pt x="48" y="0"/>
                  </a:cubicBezTo>
                </a:path>
              </a:pathLst>
            </a:custGeom>
            <a:solidFill>
              <a:srgbClr val="F6B0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73" name="îśļiḑè"/>
            <p:cNvSpPr/>
            <p:nvPr userDrawn="1"/>
          </p:nvSpPr>
          <p:spPr bwMode="auto">
            <a:xfrm>
              <a:off x="10508144" y="4318899"/>
              <a:ext cx="219332" cy="284589"/>
            </a:xfrm>
            <a:custGeom>
              <a:avLst/>
              <a:gdLst>
                <a:gd name="T0" fmla="*/ 11 w 63"/>
                <a:gd name="T1" fmla="*/ 36 h 82"/>
                <a:gd name="T2" fmla="*/ 4 w 63"/>
                <a:gd name="T3" fmla="*/ 38 h 82"/>
                <a:gd name="T4" fmla="*/ 1 w 63"/>
                <a:gd name="T5" fmla="*/ 44 h 82"/>
                <a:gd name="T6" fmla="*/ 6 w 63"/>
                <a:gd name="T7" fmla="*/ 47 h 82"/>
                <a:gd name="T8" fmla="*/ 25 w 63"/>
                <a:gd name="T9" fmla="*/ 42 h 82"/>
                <a:gd name="T10" fmla="*/ 21 w 63"/>
                <a:gd name="T11" fmla="*/ 52 h 82"/>
                <a:gd name="T12" fmla="*/ 12 w 63"/>
                <a:gd name="T13" fmla="*/ 59 h 82"/>
                <a:gd name="T14" fmla="*/ 14 w 63"/>
                <a:gd name="T15" fmla="*/ 68 h 82"/>
                <a:gd name="T16" fmla="*/ 22 w 63"/>
                <a:gd name="T17" fmla="*/ 69 h 82"/>
                <a:gd name="T18" fmla="*/ 23 w 63"/>
                <a:gd name="T19" fmla="*/ 75 h 82"/>
                <a:gd name="T20" fmla="*/ 30 w 63"/>
                <a:gd name="T21" fmla="*/ 75 h 82"/>
                <a:gd name="T22" fmla="*/ 33 w 63"/>
                <a:gd name="T23" fmla="*/ 81 h 82"/>
                <a:gd name="T24" fmla="*/ 39 w 63"/>
                <a:gd name="T25" fmla="*/ 79 h 82"/>
                <a:gd name="T26" fmla="*/ 51 w 63"/>
                <a:gd name="T27" fmla="*/ 79 h 82"/>
                <a:gd name="T28" fmla="*/ 62 w 63"/>
                <a:gd name="T29" fmla="*/ 61 h 82"/>
                <a:gd name="T30" fmla="*/ 62 w 63"/>
                <a:gd name="T31" fmla="*/ 40 h 82"/>
                <a:gd name="T32" fmla="*/ 58 w 63"/>
                <a:gd name="T33" fmla="*/ 6 h 82"/>
                <a:gd name="T34" fmla="*/ 58 w 63"/>
                <a:gd name="T35" fmla="*/ 4 h 82"/>
                <a:gd name="T36" fmla="*/ 55 w 63"/>
                <a:gd name="T37" fmla="*/ 3 h 82"/>
                <a:gd name="T38" fmla="*/ 35 w 63"/>
                <a:gd name="T39" fmla="*/ 3 h 82"/>
                <a:gd name="T40" fmla="*/ 32 w 63"/>
                <a:gd name="T41" fmla="*/ 17 h 82"/>
                <a:gd name="T42" fmla="*/ 11 w 63"/>
                <a:gd name="T43" fmla="*/ 3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3" h="82">
                  <a:moveTo>
                    <a:pt x="11" y="36"/>
                  </a:moveTo>
                  <a:cubicBezTo>
                    <a:pt x="8" y="37"/>
                    <a:pt x="6" y="37"/>
                    <a:pt x="4" y="38"/>
                  </a:cubicBezTo>
                  <a:cubicBezTo>
                    <a:pt x="1" y="39"/>
                    <a:pt x="0" y="42"/>
                    <a:pt x="1" y="44"/>
                  </a:cubicBezTo>
                  <a:cubicBezTo>
                    <a:pt x="2" y="46"/>
                    <a:pt x="4" y="47"/>
                    <a:pt x="6" y="47"/>
                  </a:cubicBezTo>
                  <a:cubicBezTo>
                    <a:pt x="13" y="48"/>
                    <a:pt x="20" y="46"/>
                    <a:pt x="25" y="42"/>
                  </a:cubicBezTo>
                  <a:cubicBezTo>
                    <a:pt x="28" y="45"/>
                    <a:pt x="25" y="49"/>
                    <a:pt x="21" y="52"/>
                  </a:cubicBezTo>
                  <a:cubicBezTo>
                    <a:pt x="18" y="54"/>
                    <a:pt x="14" y="56"/>
                    <a:pt x="12" y="59"/>
                  </a:cubicBezTo>
                  <a:cubicBezTo>
                    <a:pt x="11" y="62"/>
                    <a:pt x="11" y="65"/>
                    <a:pt x="14" y="68"/>
                  </a:cubicBezTo>
                  <a:cubicBezTo>
                    <a:pt x="16" y="70"/>
                    <a:pt x="19" y="71"/>
                    <a:pt x="22" y="69"/>
                  </a:cubicBezTo>
                  <a:cubicBezTo>
                    <a:pt x="20" y="71"/>
                    <a:pt x="21" y="74"/>
                    <a:pt x="23" y="75"/>
                  </a:cubicBezTo>
                  <a:cubicBezTo>
                    <a:pt x="25" y="76"/>
                    <a:pt x="28" y="76"/>
                    <a:pt x="30" y="75"/>
                  </a:cubicBezTo>
                  <a:cubicBezTo>
                    <a:pt x="30" y="77"/>
                    <a:pt x="31" y="80"/>
                    <a:pt x="33" y="81"/>
                  </a:cubicBezTo>
                  <a:cubicBezTo>
                    <a:pt x="35" y="81"/>
                    <a:pt x="38" y="81"/>
                    <a:pt x="39" y="79"/>
                  </a:cubicBezTo>
                  <a:cubicBezTo>
                    <a:pt x="42" y="82"/>
                    <a:pt x="48" y="81"/>
                    <a:pt x="51" y="79"/>
                  </a:cubicBezTo>
                  <a:cubicBezTo>
                    <a:pt x="57" y="75"/>
                    <a:pt x="61" y="68"/>
                    <a:pt x="62" y="61"/>
                  </a:cubicBezTo>
                  <a:cubicBezTo>
                    <a:pt x="63" y="54"/>
                    <a:pt x="63" y="47"/>
                    <a:pt x="62" y="40"/>
                  </a:cubicBezTo>
                  <a:cubicBezTo>
                    <a:pt x="61" y="28"/>
                    <a:pt x="59" y="17"/>
                    <a:pt x="58" y="6"/>
                  </a:cubicBezTo>
                  <a:cubicBezTo>
                    <a:pt x="58" y="5"/>
                    <a:pt x="58" y="4"/>
                    <a:pt x="58" y="4"/>
                  </a:cubicBezTo>
                  <a:cubicBezTo>
                    <a:pt x="57" y="3"/>
                    <a:pt x="56" y="3"/>
                    <a:pt x="55" y="3"/>
                  </a:cubicBezTo>
                  <a:cubicBezTo>
                    <a:pt x="51" y="3"/>
                    <a:pt x="38" y="0"/>
                    <a:pt x="35" y="3"/>
                  </a:cubicBezTo>
                  <a:cubicBezTo>
                    <a:pt x="32" y="6"/>
                    <a:pt x="34" y="13"/>
                    <a:pt x="32" y="17"/>
                  </a:cubicBezTo>
                  <a:cubicBezTo>
                    <a:pt x="29" y="26"/>
                    <a:pt x="21" y="34"/>
                    <a:pt x="11" y="36"/>
                  </a:cubicBezTo>
                  <a:close/>
                </a:path>
              </a:pathLst>
            </a:custGeom>
            <a:solidFill>
              <a:srgbClr val="FFC5AB"/>
            </a:solidFill>
            <a:ln>
              <a:noFill/>
            </a:ln>
          </p:spPr>
          <p:txBody>
            <a:bodyPr anchor="ctr"/>
            <a:lstStyle/>
            <a:p>
              <a:pPr algn="ctr"/>
            </a:p>
          </p:txBody>
        </p:sp>
        <p:sp>
          <p:nvSpPr>
            <p:cNvPr id="74" name="îṥḷîďè"/>
            <p:cNvSpPr/>
            <p:nvPr userDrawn="1"/>
          </p:nvSpPr>
          <p:spPr bwMode="auto">
            <a:xfrm>
              <a:off x="10339565" y="3093535"/>
              <a:ext cx="429601" cy="1279742"/>
            </a:xfrm>
            <a:custGeom>
              <a:avLst/>
              <a:gdLst>
                <a:gd name="T0" fmla="*/ 8 w 123"/>
                <a:gd name="T1" fmla="*/ 20 h 368"/>
                <a:gd name="T2" fmla="*/ 40 w 123"/>
                <a:gd name="T3" fmla="*/ 7 h 368"/>
                <a:gd name="T4" fmla="*/ 117 w 123"/>
                <a:gd name="T5" fmla="*/ 142 h 368"/>
                <a:gd name="T6" fmla="*/ 117 w 123"/>
                <a:gd name="T7" fmla="*/ 368 h 368"/>
                <a:gd name="T8" fmla="*/ 70 w 123"/>
                <a:gd name="T9" fmla="*/ 368 h 368"/>
                <a:gd name="T10" fmla="*/ 51 w 123"/>
                <a:gd name="T11" fmla="*/ 107 h 368"/>
                <a:gd name="T12" fmla="*/ 8 w 123"/>
                <a:gd name="T13" fmla="*/ 20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68">
                  <a:moveTo>
                    <a:pt x="8" y="20"/>
                  </a:moveTo>
                  <a:cubicBezTo>
                    <a:pt x="12" y="7"/>
                    <a:pt x="27" y="0"/>
                    <a:pt x="40" y="7"/>
                  </a:cubicBezTo>
                  <a:cubicBezTo>
                    <a:pt x="67" y="22"/>
                    <a:pt x="113" y="59"/>
                    <a:pt x="117" y="142"/>
                  </a:cubicBezTo>
                  <a:cubicBezTo>
                    <a:pt x="123" y="260"/>
                    <a:pt x="117" y="368"/>
                    <a:pt x="117" y="368"/>
                  </a:cubicBezTo>
                  <a:cubicBezTo>
                    <a:pt x="70" y="368"/>
                    <a:pt x="70" y="368"/>
                    <a:pt x="70" y="368"/>
                  </a:cubicBezTo>
                  <a:cubicBezTo>
                    <a:pt x="70" y="368"/>
                    <a:pt x="66" y="143"/>
                    <a:pt x="51" y="107"/>
                  </a:cubicBezTo>
                  <a:cubicBezTo>
                    <a:pt x="38" y="76"/>
                    <a:pt x="0" y="53"/>
                    <a:pt x="8" y="20"/>
                  </a:cubicBezTo>
                  <a:close/>
                </a:path>
              </a:pathLst>
            </a:custGeom>
            <a:solidFill>
              <a:srgbClr val="FFBB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矩形 145"/>
          <p:cNvSpPr/>
          <p:nvPr userDrawn="1"/>
        </p:nvSpPr>
        <p:spPr>
          <a:xfrm>
            <a:off x="-10494" y="2412403"/>
            <a:ext cx="12202493" cy="294824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47" name="组合 146"/>
          <p:cNvGrpSpPr/>
          <p:nvPr userDrawn="1"/>
        </p:nvGrpSpPr>
        <p:grpSpPr>
          <a:xfrm>
            <a:off x="2280599" y="1860737"/>
            <a:ext cx="2340312" cy="3074282"/>
            <a:chOff x="6958943" y="1744618"/>
            <a:chExt cx="2869038" cy="3768827"/>
          </a:xfrm>
        </p:grpSpPr>
        <p:sp>
          <p:nvSpPr>
            <p:cNvPr id="148" name="îṣļîde"/>
            <p:cNvSpPr/>
            <p:nvPr userDrawn="1"/>
          </p:nvSpPr>
          <p:spPr bwMode="auto">
            <a:xfrm>
              <a:off x="7025476" y="1744618"/>
              <a:ext cx="2802505" cy="3768827"/>
            </a:xfrm>
            <a:custGeom>
              <a:avLst/>
              <a:gdLst>
                <a:gd name="T0" fmla="*/ 846 w 846"/>
                <a:gd name="T1" fmla="*/ 27 h 1139"/>
                <a:gd name="T2" fmla="*/ 846 w 846"/>
                <a:gd name="T3" fmla="*/ 1139 h 1139"/>
                <a:gd name="T4" fmla="*/ 0 w 846"/>
                <a:gd name="T5" fmla="*/ 1139 h 1139"/>
                <a:gd name="T6" fmla="*/ 0 w 846"/>
                <a:gd name="T7" fmla="*/ 27 h 1139"/>
                <a:gd name="T8" fmla="*/ 27 w 846"/>
                <a:gd name="T9" fmla="*/ 0 h 1139"/>
                <a:gd name="T10" fmla="*/ 819 w 846"/>
                <a:gd name="T11" fmla="*/ 0 h 1139"/>
                <a:gd name="T12" fmla="*/ 846 w 846"/>
                <a:gd name="T13" fmla="*/ 27 h 1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6" h="1139">
                  <a:moveTo>
                    <a:pt x="846" y="27"/>
                  </a:moveTo>
                  <a:cubicBezTo>
                    <a:pt x="846" y="1139"/>
                    <a:pt x="846" y="1139"/>
                    <a:pt x="846" y="1139"/>
                  </a:cubicBezTo>
                  <a:cubicBezTo>
                    <a:pt x="0" y="1139"/>
                    <a:pt x="0" y="1139"/>
                    <a:pt x="0" y="1139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34" y="0"/>
                    <a:pt x="846" y="12"/>
                    <a:pt x="846" y="27"/>
                  </a:cubicBezTo>
                </a:path>
              </a:pathLst>
            </a:custGeom>
            <a:solidFill>
              <a:srgbClr val="E8EC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49" name="îŝḷïḋé"/>
            <p:cNvSpPr/>
            <p:nvPr userDrawn="1"/>
          </p:nvSpPr>
          <p:spPr bwMode="auto">
            <a:xfrm>
              <a:off x="7140210" y="2111071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0" name="ïs1îďè"/>
            <p:cNvSpPr/>
            <p:nvPr userDrawn="1"/>
          </p:nvSpPr>
          <p:spPr bwMode="auto">
            <a:xfrm>
              <a:off x="7317852" y="2167263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1" name="íŝḷïḍè"/>
            <p:cNvSpPr/>
            <p:nvPr userDrawn="1"/>
          </p:nvSpPr>
          <p:spPr bwMode="auto">
            <a:xfrm>
              <a:off x="7694886" y="2176326"/>
              <a:ext cx="182897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2" name="ïşlïḍe"/>
            <p:cNvSpPr/>
            <p:nvPr userDrawn="1"/>
          </p:nvSpPr>
          <p:spPr bwMode="auto">
            <a:xfrm>
              <a:off x="7694886" y="2281461"/>
              <a:ext cx="1504513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3" name="ïŝļïďè"/>
            <p:cNvSpPr/>
            <p:nvPr userDrawn="1"/>
          </p:nvSpPr>
          <p:spPr bwMode="auto">
            <a:xfrm>
              <a:off x="7694886" y="2382970"/>
              <a:ext cx="1334122" cy="58005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4" name="í$ḻïḓê"/>
            <p:cNvSpPr/>
            <p:nvPr userDrawn="1"/>
          </p:nvSpPr>
          <p:spPr bwMode="auto">
            <a:xfrm>
              <a:off x="7140210" y="3222235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5" name="ïṩḻïḋe"/>
            <p:cNvSpPr/>
            <p:nvPr userDrawn="1"/>
          </p:nvSpPr>
          <p:spPr bwMode="auto">
            <a:xfrm>
              <a:off x="7317852" y="3276615"/>
              <a:ext cx="286402" cy="286402"/>
            </a:xfrm>
            <a:custGeom>
              <a:avLst/>
              <a:gdLst>
                <a:gd name="T0" fmla="*/ 158 w 158"/>
                <a:gd name="T1" fmla="*/ 158 h 158"/>
                <a:gd name="T2" fmla="*/ 0 w 158"/>
                <a:gd name="T3" fmla="*/ 158 h 158"/>
                <a:gd name="T4" fmla="*/ 0 w 158"/>
                <a:gd name="T5" fmla="*/ 0 h 158"/>
                <a:gd name="T6" fmla="*/ 158 w 158"/>
                <a:gd name="T7" fmla="*/ 0 h 158"/>
                <a:gd name="T8" fmla="*/ 158 w 158"/>
                <a:gd name="T9" fmla="*/ 158 h 158"/>
                <a:gd name="T10" fmla="*/ 11 w 158"/>
                <a:gd name="T11" fmla="*/ 144 h 158"/>
                <a:gd name="T12" fmla="*/ 144 w 158"/>
                <a:gd name="T13" fmla="*/ 144 h 158"/>
                <a:gd name="T14" fmla="*/ 144 w 158"/>
                <a:gd name="T15" fmla="*/ 12 h 158"/>
                <a:gd name="T16" fmla="*/ 11 w 158"/>
                <a:gd name="T17" fmla="*/ 12 h 158"/>
                <a:gd name="T18" fmla="*/ 11 w 158"/>
                <a:gd name="T19" fmla="*/ 144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8">
                  <a:moveTo>
                    <a:pt x="158" y="158"/>
                  </a:moveTo>
                  <a:lnTo>
                    <a:pt x="0" y="158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8"/>
                  </a:lnTo>
                  <a:close/>
                  <a:moveTo>
                    <a:pt x="11" y="144"/>
                  </a:moveTo>
                  <a:lnTo>
                    <a:pt x="144" y="144"/>
                  </a:lnTo>
                  <a:lnTo>
                    <a:pt x="144" y="12"/>
                  </a:lnTo>
                  <a:lnTo>
                    <a:pt x="11" y="12"/>
                  </a:lnTo>
                  <a:lnTo>
                    <a:pt x="11" y="144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6" name="iśľîḍê"/>
            <p:cNvSpPr/>
            <p:nvPr userDrawn="1"/>
          </p:nvSpPr>
          <p:spPr bwMode="auto">
            <a:xfrm>
              <a:off x="7694886" y="3287491"/>
              <a:ext cx="182897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7" name="iŝ1íḓe"/>
            <p:cNvSpPr/>
            <p:nvPr userDrawn="1"/>
          </p:nvSpPr>
          <p:spPr bwMode="auto">
            <a:xfrm>
              <a:off x="7694886" y="3392625"/>
              <a:ext cx="1504513" cy="56194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8" name="ïṣlîďé"/>
            <p:cNvSpPr/>
            <p:nvPr userDrawn="1"/>
          </p:nvSpPr>
          <p:spPr bwMode="auto">
            <a:xfrm>
              <a:off x="7694886" y="3494135"/>
              <a:ext cx="1334122" cy="58005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59" name="iş1îḋé"/>
            <p:cNvSpPr/>
            <p:nvPr userDrawn="1"/>
          </p:nvSpPr>
          <p:spPr bwMode="auto">
            <a:xfrm>
              <a:off x="7140210" y="4857260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0" name="íṥḻïdê"/>
            <p:cNvSpPr/>
            <p:nvPr userDrawn="1"/>
          </p:nvSpPr>
          <p:spPr bwMode="auto">
            <a:xfrm>
              <a:off x="7317852" y="4913452"/>
              <a:ext cx="286402" cy="290027"/>
            </a:xfrm>
            <a:custGeom>
              <a:avLst/>
              <a:gdLst>
                <a:gd name="T0" fmla="*/ 158 w 158"/>
                <a:gd name="T1" fmla="*/ 160 h 160"/>
                <a:gd name="T2" fmla="*/ 0 w 158"/>
                <a:gd name="T3" fmla="*/ 160 h 160"/>
                <a:gd name="T4" fmla="*/ 0 w 158"/>
                <a:gd name="T5" fmla="*/ 0 h 160"/>
                <a:gd name="T6" fmla="*/ 158 w 158"/>
                <a:gd name="T7" fmla="*/ 0 h 160"/>
                <a:gd name="T8" fmla="*/ 158 w 158"/>
                <a:gd name="T9" fmla="*/ 160 h 160"/>
                <a:gd name="T10" fmla="*/ 11 w 158"/>
                <a:gd name="T11" fmla="*/ 146 h 160"/>
                <a:gd name="T12" fmla="*/ 144 w 158"/>
                <a:gd name="T13" fmla="*/ 146 h 160"/>
                <a:gd name="T14" fmla="*/ 144 w 158"/>
                <a:gd name="T15" fmla="*/ 14 h 160"/>
                <a:gd name="T16" fmla="*/ 11 w 158"/>
                <a:gd name="T17" fmla="*/ 14 h 160"/>
                <a:gd name="T18" fmla="*/ 11 w 158"/>
                <a:gd name="T19" fmla="*/ 146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60">
                  <a:moveTo>
                    <a:pt x="158" y="160"/>
                  </a:moveTo>
                  <a:lnTo>
                    <a:pt x="0" y="160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60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4"/>
                  </a:lnTo>
                  <a:lnTo>
                    <a:pt x="11" y="14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1" name="íşḷiďe"/>
            <p:cNvSpPr/>
            <p:nvPr userDrawn="1"/>
          </p:nvSpPr>
          <p:spPr bwMode="auto">
            <a:xfrm>
              <a:off x="7694886" y="4924328"/>
              <a:ext cx="182897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2" name="ïślïḓè"/>
            <p:cNvSpPr/>
            <p:nvPr userDrawn="1"/>
          </p:nvSpPr>
          <p:spPr bwMode="auto">
            <a:xfrm>
              <a:off x="7694886" y="5029464"/>
              <a:ext cx="1504513" cy="58005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3" name="isľîďe"/>
            <p:cNvSpPr/>
            <p:nvPr userDrawn="1"/>
          </p:nvSpPr>
          <p:spPr bwMode="auto">
            <a:xfrm>
              <a:off x="7694886" y="5129159"/>
              <a:ext cx="1334122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4" name="î$ļíďè"/>
            <p:cNvSpPr/>
            <p:nvPr userDrawn="1"/>
          </p:nvSpPr>
          <p:spPr bwMode="auto">
            <a:xfrm>
              <a:off x="7140210" y="3767848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5" name="ïś1îḋê"/>
            <p:cNvSpPr/>
            <p:nvPr userDrawn="1"/>
          </p:nvSpPr>
          <p:spPr bwMode="auto">
            <a:xfrm>
              <a:off x="7140210" y="3767848"/>
              <a:ext cx="2586674" cy="3969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6" name="ïśļiďê"/>
            <p:cNvSpPr/>
            <p:nvPr userDrawn="1"/>
          </p:nvSpPr>
          <p:spPr bwMode="auto">
            <a:xfrm>
              <a:off x="7317852" y="3820414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4 h 159"/>
                <a:gd name="T16" fmla="*/ 11 w 158"/>
                <a:gd name="T17" fmla="*/ 14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4"/>
                  </a:lnTo>
                  <a:lnTo>
                    <a:pt x="11" y="14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7" name="íŝḷiďé"/>
            <p:cNvSpPr/>
            <p:nvPr userDrawn="1"/>
          </p:nvSpPr>
          <p:spPr bwMode="auto">
            <a:xfrm>
              <a:off x="7694886" y="3834916"/>
              <a:ext cx="1828979" cy="54380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8" name="íslïḑe"/>
            <p:cNvSpPr/>
            <p:nvPr userDrawn="1"/>
          </p:nvSpPr>
          <p:spPr bwMode="auto">
            <a:xfrm>
              <a:off x="7694886" y="3934613"/>
              <a:ext cx="1504513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69" name="íŝļïḍê"/>
            <p:cNvSpPr/>
            <p:nvPr userDrawn="1"/>
          </p:nvSpPr>
          <p:spPr bwMode="auto">
            <a:xfrm>
              <a:off x="7694886" y="4039748"/>
              <a:ext cx="1334122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0" name="íS1ídé"/>
            <p:cNvSpPr/>
            <p:nvPr userDrawn="1"/>
          </p:nvSpPr>
          <p:spPr bwMode="auto">
            <a:xfrm>
              <a:off x="7140210" y="4315273"/>
              <a:ext cx="2586674" cy="393349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1" name="ïSḻídè"/>
            <p:cNvSpPr/>
            <p:nvPr userDrawn="1"/>
          </p:nvSpPr>
          <p:spPr bwMode="auto">
            <a:xfrm>
              <a:off x="7140210" y="4315273"/>
              <a:ext cx="2586674" cy="3933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2" name="ïşlîḋe"/>
            <p:cNvSpPr/>
            <p:nvPr userDrawn="1"/>
          </p:nvSpPr>
          <p:spPr bwMode="auto">
            <a:xfrm>
              <a:off x="7317852" y="4367840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3" name="íśľidé"/>
            <p:cNvSpPr/>
            <p:nvPr userDrawn="1"/>
          </p:nvSpPr>
          <p:spPr bwMode="auto">
            <a:xfrm>
              <a:off x="7317852" y="4367840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4" name="isḷïḍé"/>
            <p:cNvSpPr/>
            <p:nvPr userDrawn="1"/>
          </p:nvSpPr>
          <p:spPr bwMode="auto">
            <a:xfrm>
              <a:off x="7694886" y="4376904"/>
              <a:ext cx="182897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5" name="işḻîďê"/>
            <p:cNvSpPr/>
            <p:nvPr userDrawn="1"/>
          </p:nvSpPr>
          <p:spPr bwMode="auto">
            <a:xfrm>
              <a:off x="7694886" y="4482038"/>
              <a:ext cx="1504513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6" name="ïşļiḋê"/>
            <p:cNvSpPr/>
            <p:nvPr userDrawn="1"/>
          </p:nvSpPr>
          <p:spPr bwMode="auto">
            <a:xfrm>
              <a:off x="7694886" y="4587173"/>
              <a:ext cx="1334122" cy="54380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7" name="îṧ1ïdé"/>
            <p:cNvSpPr/>
            <p:nvPr userDrawn="1"/>
          </p:nvSpPr>
          <p:spPr bwMode="auto">
            <a:xfrm>
              <a:off x="7091268" y="2731002"/>
              <a:ext cx="2590299" cy="396974"/>
            </a:xfrm>
            <a:custGeom>
              <a:avLst/>
              <a:gdLst>
                <a:gd name="T0" fmla="*/ 27 w 1429"/>
                <a:gd name="T1" fmla="*/ 0 h 219"/>
                <a:gd name="T2" fmla="*/ 0 w 1429"/>
                <a:gd name="T3" fmla="*/ 0 h 219"/>
                <a:gd name="T4" fmla="*/ 0 w 1429"/>
                <a:gd name="T5" fmla="*/ 219 h 219"/>
                <a:gd name="T6" fmla="*/ 1429 w 1429"/>
                <a:gd name="T7" fmla="*/ 219 h 219"/>
                <a:gd name="T8" fmla="*/ 1429 w 1429"/>
                <a:gd name="T9" fmla="*/ 188 h 219"/>
                <a:gd name="T10" fmla="*/ 27 w 1429"/>
                <a:gd name="T11" fmla="*/ 188 h 219"/>
                <a:gd name="T12" fmla="*/ 27 w 1429"/>
                <a:gd name="T13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9" h="219">
                  <a:moveTo>
                    <a:pt x="27" y="0"/>
                  </a:moveTo>
                  <a:lnTo>
                    <a:pt x="0" y="0"/>
                  </a:lnTo>
                  <a:lnTo>
                    <a:pt x="0" y="219"/>
                  </a:lnTo>
                  <a:lnTo>
                    <a:pt x="1429" y="219"/>
                  </a:lnTo>
                  <a:lnTo>
                    <a:pt x="1429" y="188"/>
                  </a:lnTo>
                  <a:lnTo>
                    <a:pt x="27" y="188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DDE0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8" name="ïṣľíḍe"/>
            <p:cNvSpPr/>
            <p:nvPr userDrawn="1"/>
          </p:nvSpPr>
          <p:spPr bwMode="auto">
            <a:xfrm>
              <a:off x="7091268" y="2731002"/>
              <a:ext cx="2590299" cy="396974"/>
            </a:xfrm>
            <a:custGeom>
              <a:avLst/>
              <a:gdLst>
                <a:gd name="T0" fmla="*/ 27 w 1429"/>
                <a:gd name="T1" fmla="*/ 0 h 219"/>
                <a:gd name="T2" fmla="*/ 0 w 1429"/>
                <a:gd name="T3" fmla="*/ 0 h 219"/>
                <a:gd name="T4" fmla="*/ 0 w 1429"/>
                <a:gd name="T5" fmla="*/ 219 h 219"/>
                <a:gd name="T6" fmla="*/ 1429 w 1429"/>
                <a:gd name="T7" fmla="*/ 219 h 219"/>
                <a:gd name="T8" fmla="*/ 1429 w 1429"/>
                <a:gd name="T9" fmla="*/ 188 h 219"/>
                <a:gd name="T10" fmla="*/ 27 w 1429"/>
                <a:gd name="T11" fmla="*/ 188 h 219"/>
                <a:gd name="T12" fmla="*/ 27 w 1429"/>
                <a:gd name="T13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29" h="219">
                  <a:moveTo>
                    <a:pt x="27" y="0"/>
                  </a:moveTo>
                  <a:lnTo>
                    <a:pt x="0" y="0"/>
                  </a:lnTo>
                  <a:lnTo>
                    <a:pt x="0" y="219"/>
                  </a:lnTo>
                  <a:lnTo>
                    <a:pt x="1429" y="219"/>
                  </a:lnTo>
                  <a:lnTo>
                    <a:pt x="1429" y="188"/>
                  </a:lnTo>
                  <a:lnTo>
                    <a:pt x="27" y="188"/>
                  </a:lnTo>
                  <a:lnTo>
                    <a:pt x="2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79" name="îśḻíḍe"/>
            <p:cNvSpPr/>
            <p:nvPr userDrawn="1"/>
          </p:nvSpPr>
          <p:spPr bwMode="auto">
            <a:xfrm>
              <a:off x="7140210" y="2674810"/>
              <a:ext cx="2586674" cy="396974"/>
            </a:xfrm>
            <a:prstGeom prst="rect">
              <a:avLst/>
            </a:prstGeom>
            <a:solidFill>
              <a:srgbClr val="FAFC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0" name="ïSļíḋe"/>
            <p:cNvSpPr/>
            <p:nvPr userDrawn="1"/>
          </p:nvSpPr>
          <p:spPr bwMode="auto">
            <a:xfrm>
              <a:off x="7140210" y="2674810"/>
              <a:ext cx="2586674" cy="3969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1" name="î$1íďè"/>
            <p:cNvSpPr/>
            <p:nvPr userDrawn="1"/>
          </p:nvSpPr>
          <p:spPr bwMode="auto">
            <a:xfrm>
              <a:off x="7317852" y="2731002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close/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2" name="îś1îḍè"/>
            <p:cNvSpPr/>
            <p:nvPr userDrawn="1"/>
          </p:nvSpPr>
          <p:spPr bwMode="auto">
            <a:xfrm>
              <a:off x="7317852" y="2731002"/>
              <a:ext cx="286402" cy="288214"/>
            </a:xfrm>
            <a:custGeom>
              <a:avLst/>
              <a:gdLst>
                <a:gd name="T0" fmla="*/ 158 w 158"/>
                <a:gd name="T1" fmla="*/ 159 h 159"/>
                <a:gd name="T2" fmla="*/ 0 w 158"/>
                <a:gd name="T3" fmla="*/ 159 h 159"/>
                <a:gd name="T4" fmla="*/ 0 w 158"/>
                <a:gd name="T5" fmla="*/ 0 h 159"/>
                <a:gd name="T6" fmla="*/ 158 w 158"/>
                <a:gd name="T7" fmla="*/ 0 h 159"/>
                <a:gd name="T8" fmla="*/ 158 w 158"/>
                <a:gd name="T9" fmla="*/ 159 h 159"/>
                <a:gd name="T10" fmla="*/ 11 w 158"/>
                <a:gd name="T11" fmla="*/ 146 h 159"/>
                <a:gd name="T12" fmla="*/ 144 w 158"/>
                <a:gd name="T13" fmla="*/ 146 h 159"/>
                <a:gd name="T14" fmla="*/ 144 w 158"/>
                <a:gd name="T15" fmla="*/ 13 h 159"/>
                <a:gd name="T16" fmla="*/ 11 w 158"/>
                <a:gd name="T17" fmla="*/ 13 h 159"/>
                <a:gd name="T18" fmla="*/ 11 w 158"/>
                <a:gd name="T19" fmla="*/ 14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8" h="159">
                  <a:moveTo>
                    <a:pt x="158" y="159"/>
                  </a:moveTo>
                  <a:lnTo>
                    <a:pt x="0" y="159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59"/>
                  </a:lnTo>
                  <a:moveTo>
                    <a:pt x="11" y="146"/>
                  </a:moveTo>
                  <a:lnTo>
                    <a:pt x="144" y="146"/>
                  </a:lnTo>
                  <a:lnTo>
                    <a:pt x="144" y="13"/>
                  </a:lnTo>
                  <a:lnTo>
                    <a:pt x="11" y="13"/>
                  </a:lnTo>
                  <a:lnTo>
                    <a:pt x="11" y="14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3" name="î$1idê"/>
            <p:cNvSpPr/>
            <p:nvPr userDrawn="1"/>
          </p:nvSpPr>
          <p:spPr bwMode="auto">
            <a:xfrm>
              <a:off x="7694886" y="2741879"/>
              <a:ext cx="1828979" cy="58005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4" name="íŝľîdé"/>
            <p:cNvSpPr/>
            <p:nvPr userDrawn="1"/>
          </p:nvSpPr>
          <p:spPr bwMode="auto">
            <a:xfrm>
              <a:off x="7694886" y="2845200"/>
              <a:ext cx="971589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5" name="ïṡļîḋè"/>
            <p:cNvSpPr/>
            <p:nvPr userDrawn="1"/>
          </p:nvSpPr>
          <p:spPr bwMode="auto">
            <a:xfrm>
              <a:off x="7694886" y="2946709"/>
              <a:ext cx="1334122" cy="59819"/>
            </a:xfrm>
            <a:prstGeom prst="rect">
              <a:avLst/>
            </a:prstGeom>
            <a:solidFill>
              <a:srgbClr val="D5D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6" name="íṡļïḋê"/>
            <p:cNvSpPr/>
            <p:nvPr userDrawn="1"/>
          </p:nvSpPr>
          <p:spPr bwMode="auto">
            <a:xfrm>
              <a:off x="7620566" y="2602302"/>
              <a:ext cx="112385" cy="72506"/>
            </a:xfrm>
            <a:custGeom>
              <a:avLst/>
              <a:gdLst>
                <a:gd name="T0" fmla="*/ 25 w 62"/>
                <a:gd name="T1" fmla="*/ 0 h 40"/>
                <a:gd name="T2" fmla="*/ 0 w 62"/>
                <a:gd name="T3" fmla="*/ 40 h 40"/>
                <a:gd name="T4" fmla="*/ 50 w 62"/>
                <a:gd name="T5" fmla="*/ 40 h 40"/>
                <a:gd name="T6" fmla="*/ 62 w 62"/>
                <a:gd name="T7" fmla="*/ 25 h 40"/>
                <a:gd name="T8" fmla="*/ 25 w 62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40">
                  <a:moveTo>
                    <a:pt x="25" y="0"/>
                  </a:moveTo>
                  <a:lnTo>
                    <a:pt x="0" y="40"/>
                  </a:lnTo>
                  <a:lnTo>
                    <a:pt x="50" y="40"/>
                  </a:lnTo>
                  <a:lnTo>
                    <a:pt x="62" y="25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D0D4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7" name="îṥḷiďe"/>
            <p:cNvSpPr/>
            <p:nvPr userDrawn="1"/>
          </p:nvSpPr>
          <p:spPr bwMode="auto">
            <a:xfrm>
              <a:off x="7620566" y="2602302"/>
              <a:ext cx="112385" cy="72506"/>
            </a:xfrm>
            <a:custGeom>
              <a:avLst/>
              <a:gdLst>
                <a:gd name="T0" fmla="*/ 25 w 62"/>
                <a:gd name="T1" fmla="*/ 0 h 40"/>
                <a:gd name="T2" fmla="*/ 0 w 62"/>
                <a:gd name="T3" fmla="*/ 40 h 40"/>
                <a:gd name="T4" fmla="*/ 50 w 62"/>
                <a:gd name="T5" fmla="*/ 40 h 40"/>
                <a:gd name="T6" fmla="*/ 62 w 62"/>
                <a:gd name="T7" fmla="*/ 25 h 40"/>
                <a:gd name="T8" fmla="*/ 25 w 62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" h="40">
                  <a:moveTo>
                    <a:pt x="25" y="0"/>
                  </a:moveTo>
                  <a:lnTo>
                    <a:pt x="0" y="40"/>
                  </a:lnTo>
                  <a:lnTo>
                    <a:pt x="50" y="40"/>
                  </a:lnTo>
                  <a:lnTo>
                    <a:pt x="62" y="25"/>
                  </a:lnTo>
                  <a:lnTo>
                    <a:pt x="2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8" name="iSḻîḓe"/>
            <p:cNvSpPr/>
            <p:nvPr userDrawn="1"/>
          </p:nvSpPr>
          <p:spPr bwMode="auto">
            <a:xfrm>
              <a:off x="7243532" y="2674810"/>
              <a:ext cx="467668" cy="358908"/>
            </a:xfrm>
            <a:custGeom>
              <a:avLst/>
              <a:gdLst>
                <a:gd name="T0" fmla="*/ 122 w 258"/>
                <a:gd name="T1" fmla="*/ 190 h 198"/>
                <a:gd name="T2" fmla="*/ 108 w 258"/>
                <a:gd name="T3" fmla="*/ 190 h 198"/>
                <a:gd name="T4" fmla="*/ 116 w 258"/>
                <a:gd name="T5" fmla="*/ 198 h 198"/>
                <a:gd name="T6" fmla="*/ 122 w 258"/>
                <a:gd name="T7" fmla="*/ 190 h 198"/>
                <a:gd name="T8" fmla="*/ 185 w 258"/>
                <a:gd name="T9" fmla="*/ 44 h 198"/>
                <a:gd name="T10" fmla="*/ 179 w 258"/>
                <a:gd name="T11" fmla="*/ 44 h 198"/>
                <a:gd name="T12" fmla="*/ 114 w 258"/>
                <a:gd name="T13" fmla="*/ 148 h 198"/>
                <a:gd name="T14" fmla="*/ 52 w 258"/>
                <a:gd name="T15" fmla="*/ 67 h 198"/>
                <a:gd name="T16" fmla="*/ 52 w 258"/>
                <a:gd name="T17" fmla="*/ 129 h 198"/>
                <a:gd name="T18" fmla="*/ 97 w 258"/>
                <a:gd name="T19" fmla="*/ 177 h 198"/>
                <a:gd name="T20" fmla="*/ 131 w 258"/>
                <a:gd name="T21" fmla="*/ 177 h 198"/>
                <a:gd name="T22" fmla="*/ 185 w 258"/>
                <a:gd name="T23" fmla="*/ 100 h 198"/>
                <a:gd name="T24" fmla="*/ 185 w 258"/>
                <a:gd name="T25" fmla="*/ 44 h 198"/>
                <a:gd name="T26" fmla="*/ 35 w 258"/>
                <a:gd name="T27" fmla="*/ 42 h 198"/>
                <a:gd name="T28" fmla="*/ 0 w 258"/>
                <a:gd name="T29" fmla="*/ 71 h 198"/>
                <a:gd name="T30" fmla="*/ 41 w 258"/>
                <a:gd name="T31" fmla="*/ 113 h 198"/>
                <a:gd name="T32" fmla="*/ 41 w 258"/>
                <a:gd name="T33" fmla="*/ 50 h 198"/>
                <a:gd name="T34" fmla="*/ 35 w 258"/>
                <a:gd name="T35" fmla="*/ 42 h 198"/>
                <a:gd name="T36" fmla="*/ 258 w 258"/>
                <a:gd name="T37" fmla="*/ 0 h 198"/>
                <a:gd name="T38" fmla="*/ 208 w 258"/>
                <a:gd name="T39" fmla="*/ 0 h 198"/>
                <a:gd name="T40" fmla="*/ 189 w 258"/>
                <a:gd name="T41" fmla="*/ 31 h 198"/>
                <a:gd name="T42" fmla="*/ 199 w 258"/>
                <a:gd name="T43" fmla="*/ 31 h 198"/>
                <a:gd name="T44" fmla="*/ 199 w 258"/>
                <a:gd name="T45" fmla="*/ 83 h 198"/>
                <a:gd name="T46" fmla="*/ 258 w 258"/>
                <a:gd name="T4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8" h="198">
                  <a:moveTo>
                    <a:pt x="122" y="190"/>
                  </a:moveTo>
                  <a:lnTo>
                    <a:pt x="108" y="190"/>
                  </a:lnTo>
                  <a:lnTo>
                    <a:pt x="116" y="198"/>
                  </a:lnTo>
                  <a:lnTo>
                    <a:pt x="122" y="190"/>
                  </a:lnTo>
                  <a:close/>
                  <a:moveTo>
                    <a:pt x="185" y="44"/>
                  </a:moveTo>
                  <a:lnTo>
                    <a:pt x="179" y="44"/>
                  </a:lnTo>
                  <a:lnTo>
                    <a:pt x="114" y="148"/>
                  </a:lnTo>
                  <a:lnTo>
                    <a:pt x="52" y="67"/>
                  </a:lnTo>
                  <a:lnTo>
                    <a:pt x="52" y="129"/>
                  </a:lnTo>
                  <a:lnTo>
                    <a:pt x="97" y="177"/>
                  </a:lnTo>
                  <a:lnTo>
                    <a:pt x="131" y="177"/>
                  </a:lnTo>
                  <a:lnTo>
                    <a:pt x="185" y="100"/>
                  </a:lnTo>
                  <a:lnTo>
                    <a:pt x="185" y="44"/>
                  </a:lnTo>
                  <a:close/>
                  <a:moveTo>
                    <a:pt x="35" y="42"/>
                  </a:moveTo>
                  <a:lnTo>
                    <a:pt x="0" y="71"/>
                  </a:lnTo>
                  <a:lnTo>
                    <a:pt x="41" y="113"/>
                  </a:lnTo>
                  <a:lnTo>
                    <a:pt x="41" y="50"/>
                  </a:lnTo>
                  <a:lnTo>
                    <a:pt x="35" y="42"/>
                  </a:lnTo>
                  <a:close/>
                  <a:moveTo>
                    <a:pt x="258" y="0"/>
                  </a:moveTo>
                  <a:lnTo>
                    <a:pt x="208" y="0"/>
                  </a:lnTo>
                  <a:lnTo>
                    <a:pt x="189" y="31"/>
                  </a:lnTo>
                  <a:lnTo>
                    <a:pt x="199" y="31"/>
                  </a:lnTo>
                  <a:lnTo>
                    <a:pt x="199" y="83"/>
                  </a:lnTo>
                  <a:lnTo>
                    <a:pt x="258" y="0"/>
                  </a:lnTo>
                  <a:close/>
                </a:path>
              </a:pathLst>
            </a:custGeom>
            <a:solidFill>
              <a:srgbClr val="E1E2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89" name="ïṧḻïďé"/>
            <p:cNvSpPr/>
            <p:nvPr userDrawn="1"/>
          </p:nvSpPr>
          <p:spPr bwMode="auto">
            <a:xfrm>
              <a:off x="7243532" y="2674810"/>
              <a:ext cx="467668" cy="358908"/>
            </a:xfrm>
            <a:custGeom>
              <a:avLst/>
              <a:gdLst>
                <a:gd name="T0" fmla="*/ 122 w 258"/>
                <a:gd name="T1" fmla="*/ 190 h 198"/>
                <a:gd name="T2" fmla="*/ 108 w 258"/>
                <a:gd name="T3" fmla="*/ 190 h 198"/>
                <a:gd name="T4" fmla="*/ 116 w 258"/>
                <a:gd name="T5" fmla="*/ 198 h 198"/>
                <a:gd name="T6" fmla="*/ 122 w 258"/>
                <a:gd name="T7" fmla="*/ 190 h 198"/>
                <a:gd name="T8" fmla="*/ 185 w 258"/>
                <a:gd name="T9" fmla="*/ 44 h 198"/>
                <a:gd name="T10" fmla="*/ 179 w 258"/>
                <a:gd name="T11" fmla="*/ 44 h 198"/>
                <a:gd name="T12" fmla="*/ 114 w 258"/>
                <a:gd name="T13" fmla="*/ 148 h 198"/>
                <a:gd name="T14" fmla="*/ 52 w 258"/>
                <a:gd name="T15" fmla="*/ 67 h 198"/>
                <a:gd name="T16" fmla="*/ 52 w 258"/>
                <a:gd name="T17" fmla="*/ 129 h 198"/>
                <a:gd name="T18" fmla="*/ 97 w 258"/>
                <a:gd name="T19" fmla="*/ 177 h 198"/>
                <a:gd name="T20" fmla="*/ 131 w 258"/>
                <a:gd name="T21" fmla="*/ 177 h 198"/>
                <a:gd name="T22" fmla="*/ 185 w 258"/>
                <a:gd name="T23" fmla="*/ 100 h 198"/>
                <a:gd name="T24" fmla="*/ 185 w 258"/>
                <a:gd name="T25" fmla="*/ 44 h 198"/>
                <a:gd name="T26" fmla="*/ 35 w 258"/>
                <a:gd name="T27" fmla="*/ 42 h 198"/>
                <a:gd name="T28" fmla="*/ 0 w 258"/>
                <a:gd name="T29" fmla="*/ 71 h 198"/>
                <a:gd name="T30" fmla="*/ 41 w 258"/>
                <a:gd name="T31" fmla="*/ 113 h 198"/>
                <a:gd name="T32" fmla="*/ 41 w 258"/>
                <a:gd name="T33" fmla="*/ 50 h 198"/>
                <a:gd name="T34" fmla="*/ 35 w 258"/>
                <a:gd name="T35" fmla="*/ 42 h 198"/>
                <a:gd name="T36" fmla="*/ 258 w 258"/>
                <a:gd name="T37" fmla="*/ 0 h 198"/>
                <a:gd name="T38" fmla="*/ 208 w 258"/>
                <a:gd name="T39" fmla="*/ 0 h 198"/>
                <a:gd name="T40" fmla="*/ 189 w 258"/>
                <a:gd name="T41" fmla="*/ 31 h 198"/>
                <a:gd name="T42" fmla="*/ 199 w 258"/>
                <a:gd name="T43" fmla="*/ 31 h 198"/>
                <a:gd name="T44" fmla="*/ 199 w 258"/>
                <a:gd name="T45" fmla="*/ 83 h 198"/>
                <a:gd name="T46" fmla="*/ 258 w 258"/>
                <a:gd name="T47" fmla="*/ 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8" h="198">
                  <a:moveTo>
                    <a:pt x="122" y="190"/>
                  </a:moveTo>
                  <a:lnTo>
                    <a:pt x="108" y="190"/>
                  </a:lnTo>
                  <a:lnTo>
                    <a:pt x="116" y="198"/>
                  </a:lnTo>
                  <a:lnTo>
                    <a:pt x="122" y="190"/>
                  </a:lnTo>
                  <a:moveTo>
                    <a:pt x="185" y="44"/>
                  </a:moveTo>
                  <a:lnTo>
                    <a:pt x="179" y="44"/>
                  </a:lnTo>
                  <a:lnTo>
                    <a:pt x="114" y="148"/>
                  </a:lnTo>
                  <a:lnTo>
                    <a:pt x="52" y="67"/>
                  </a:lnTo>
                  <a:lnTo>
                    <a:pt x="52" y="129"/>
                  </a:lnTo>
                  <a:lnTo>
                    <a:pt x="97" y="177"/>
                  </a:lnTo>
                  <a:lnTo>
                    <a:pt x="131" y="177"/>
                  </a:lnTo>
                  <a:lnTo>
                    <a:pt x="185" y="100"/>
                  </a:lnTo>
                  <a:lnTo>
                    <a:pt x="185" y="44"/>
                  </a:lnTo>
                  <a:moveTo>
                    <a:pt x="35" y="42"/>
                  </a:moveTo>
                  <a:lnTo>
                    <a:pt x="0" y="71"/>
                  </a:lnTo>
                  <a:lnTo>
                    <a:pt x="41" y="113"/>
                  </a:lnTo>
                  <a:lnTo>
                    <a:pt x="41" y="50"/>
                  </a:lnTo>
                  <a:lnTo>
                    <a:pt x="35" y="42"/>
                  </a:lnTo>
                  <a:moveTo>
                    <a:pt x="258" y="0"/>
                  </a:moveTo>
                  <a:lnTo>
                    <a:pt x="208" y="0"/>
                  </a:lnTo>
                  <a:lnTo>
                    <a:pt x="189" y="31"/>
                  </a:lnTo>
                  <a:lnTo>
                    <a:pt x="199" y="31"/>
                  </a:lnTo>
                  <a:lnTo>
                    <a:pt x="199" y="83"/>
                  </a:lnTo>
                  <a:lnTo>
                    <a:pt x="25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0" name="îš1íḍè"/>
            <p:cNvSpPr/>
            <p:nvPr userDrawn="1"/>
          </p:nvSpPr>
          <p:spPr bwMode="auto">
            <a:xfrm>
              <a:off x="7317852" y="2731002"/>
              <a:ext cx="286402" cy="288214"/>
            </a:xfrm>
            <a:custGeom>
              <a:avLst/>
              <a:gdLst>
                <a:gd name="T0" fmla="*/ 90 w 158"/>
                <a:gd name="T1" fmla="*/ 146 h 159"/>
                <a:gd name="T2" fmla="*/ 56 w 158"/>
                <a:gd name="T3" fmla="*/ 146 h 159"/>
                <a:gd name="T4" fmla="*/ 67 w 158"/>
                <a:gd name="T5" fmla="*/ 159 h 159"/>
                <a:gd name="T6" fmla="*/ 81 w 158"/>
                <a:gd name="T7" fmla="*/ 159 h 159"/>
                <a:gd name="T8" fmla="*/ 90 w 158"/>
                <a:gd name="T9" fmla="*/ 146 h 159"/>
                <a:gd name="T10" fmla="*/ 0 w 158"/>
                <a:gd name="T11" fmla="*/ 19 h 159"/>
                <a:gd name="T12" fmla="*/ 0 w 158"/>
                <a:gd name="T13" fmla="*/ 82 h 159"/>
                <a:gd name="T14" fmla="*/ 11 w 158"/>
                <a:gd name="T15" fmla="*/ 98 h 159"/>
                <a:gd name="T16" fmla="*/ 11 w 158"/>
                <a:gd name="T17" fmla="*/ 36 h 159"/>
                <a:gd name="T18" fmla="*/ 0 w 158"/>
                <a:gd name="T19" fmla="*/ 19 h 159"/>
                <a:gd name="T20" fmla="*/ 158 w 158"/>
                <a:gd name="T21" fmla="*/ 0 h 159"/>
                <a:gd name="T22" fmla="*/ 148 w 158"/>
                <a:gd name="T23" fmla="*/ 0 h 159"/>
                <a:gd name="T24" fmla="*/ 138 w 158"/>
                <a:gd name="T25" fmla="*/ 13 h 159"/>
                <a:gd name="T26" fmla="*/ 144 w 158"/>
                <a:gd name="T27" fmla="*/ 13 h 159"/>
                <a:gd name="T28" fmla="*/ 144 w 158"/>
                <a:gd name="T29" fmla="*/ 69 h 159"/>
                <a:gd name="T30" fmla="*/ 158 w 158"/>
                <a:gd name="T31" fmla="*/ 52 h 159"/>
                <a:gd name="T32" fmla="*/ 158 w 158"/>
                <a:gd name="T33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9">
                  <a:moveTo>
                    <a:pt x="90" y="146"/>
                  </a:moveTo>
                  <a:lnTo>
                    <a:pt x="56" y="146"/>
                  </a:lnTo>
                  <a:lnTo>
                    <a:pt x="67" y="159"/>
                  </a:lnTo>
                  <a:lnTo>
                    <a:pt x="81" y="159"/>
                  </a:lnTo>
                  <a:lnTo>
                    <a:pt x="90" y="146"/>
                  </a:lnTo>
                  <a:close/>
                  <a:moveTo>
                    <a:pt x="0" y="19"/>
                  </a:moveTo>
                  <a:lnTo>
                    <a:pt x="0" y="82"/>
                  </a:lnTo>
                  <a:lnTo>
                    <a:pt x="11" y="98"/>
                  </a:lnTo>
                  <a:lnTo>
                    <a:pt x="11" y="36"/>
                  </a:lnTo>
                  <a:lnTo>
                    <a:pt x="0" y="19"/>
                  </a:lnTo>
                  <a:close/>
                  <a:moveTo>
                    <a:pt x="158" y="0"/>
                  </a:moveTo>
                  <a:lnTo>
                    <a:pt x="148" y="0"/>
                  </a:lnTo>
                  <a:lnTo>
                    <a:pt x="138" y="13"/>
                  </a:lnTo>
                  <a:lnTo>
                    <a:pt x="144" y="13"/>
                  </a:lnTo>
                  <a:lnTo>
                    <a:pt x="144" y="69"/>
                  </a:lnTo>
                  <a:lnTo>
                    <a:pt x="158" y="52"/>
                  </a:lnTo>
                  <a:lnTo>
                    <a:pt x="158" y="0"/>
                  </a:lnTo>
                  <a:close/>
                </a:path>
              </a:pathLst>
            </a:custGeom>
            <a:solidFill>
              <a:srgbClr val="BFC2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1" name="ïS1ïḋê"/>
            <p:cNvSpPr/>
            <p:nvPr userDrawn="1"/>
          </p:nvSpPr>
          <p:spPr bwMode="auto">
            <a:xfrm>
              <a:off x="7317852" y="2731002"/>
              <a:ext cx="286402" cy="288214"/>
            </a:xfrm>
            <a:custGeom>
              <a:avLst/>
              <a:gdLst>
                <a:gd name="T0" fmla="*/ 90 w 158"/>
                <a:gd name="T1" fmla="*/ 146 h 159"/>
                <a:gd name="T2" fmla="*/ 56 w 158"/>
                <a:gd name="T3" fmla="*/ 146 h 159"/>
                <a:gd name="T4" fmla="*/ 67 w 158"/>
                <a:gd name="T5" fmla="*/ 159 h 159"/>
                <a:gd name="T6" fmla="*/ 81 w 158"/>
                <a:gd name="T7" fmla="*/ 159 h 159"/>
                <a:gd name="T8" fmla="*/ 90 w 158"/>
                <a:gd name="T9" fmla="*/ 146 h 159"/>
                <a:gd name="T10" fmla="*/ 0 w 158"/>
                <a:gd name="T11" fmla="*/ 19 h 159"/>
                <a:gd name="T12" fmla="*/ 0 w 158"/>
                <a:gd name="T13" fmla="*/ 82 h 159"/>
                <a:gd name="T14" fmla="*/ 11 w 158"/>
                <a:gd name="T15" fmla="*/ 98 h 159"/>
                <a:gd name="T16" fmla="*/ 11 w 158"/>
                <a:gd name="T17" fmla="*/ 36 h 159"/>
                <a:gd name="T18" fmla="*/ 0 w 158"/>
                <a:gd name="T19" fmla="*/ 19 h 159"/>
                <a:gd name="T20" fmla="*/ 158 w 158"/>
                <a:gd name="T21" fmla="*/ 0 h 159"/>
                <a:gd name="T22" fmla="*/ 148 w 158"/>
                <a:gd name="T23" fmla="*/ 0 h 159"/>
                <a:gd name="T24" fmla="*/ 138 w 158"/>
                <a:gd name="T25" fmla="*/ 13 h 159"/>
                <a:gd name="T26" fmla="*/ 144 w 158"/>
                <a:gd name="T27" fmla="*/ 13 h 159"/>
                <a:gd name="T28" fmla="*/ 144 w 158"/>
                <a:gd name="T29" fmla="*/ 69 h 159"/>
                <a:gd name="T30" fmla="*/ 158 w 158"/>
                <a:gd name="T31" fmla="*/ 52 h 159"/>
                <a:gd name="T32" fmla="*/ 158 w 158"/>
                <a:gd name="T33" fmla="*/ 0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8" h="159">
                  <a:moveTo>
                    <a:pt x="90" y="146"/>
                  </a:moveTo>
                  <a:lnTo>
                    <a:pt x="56" y="146"/>
                  </a:lnTo>
                  <a:lnTo>
                    <a:pt x="67" y="159"/>
                  </a:lnTo>
                  <a:lnTo>
                    <a:pt x="81" y="159"/>
                  </a:lnTo>
                  <a:lnTo>
                    <a:pt x="90" y="146"/>
                  </a:lnTo>
                  <a:moveTo>
                    <a:pt x="0" y="19"/>
                  </a:moveTo>
                  <a:lnTo>
                    <a:pt x="0" y="82"/>
                  </a:lnTo>
                  <a:lnTo>
                    <a:pt x="11" y="98"/>
                  </a:lnTo>
                  <a:lnTo>
                    <a:pt x="11" y="36"/>
                  </a:lnTo>
                  <a:lnTo>
                    <a:pt x="0" y="19"/>
                  </a:lnTo>
                  <a:moveTo>
                    <a:pt x="158" y="0"/>
                  </a:moveTo>
                  <a:lnTo>
                    <a:pt x="148" y="0"/>
                  </a:lnTo>
                  <a:lnTo>
                    <a:pt x="138" y="13"/>
                  </a:lnTo>
                  <a:lnTo>
                    <a:pt x="144" y="13"/>
                  </a:lnTo>
                  <a:lnTo>
                    <a:pt x="144" y="69"/>
                  </a:lnTo>
                  <a:lnTo>
                    <a:pt x="158" y="52"/>
                  </a:lnTo>
                  <a:lnTo>
                    <a:pt x="15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2" name="îṣḻiḍè"/>
            <p:cNvSpPr/>
            <p:nvPr userDrawn="1"/>
          </p:nvSpPr>
          <p:spPr bwMode="auto">
            <a:xfrm>
              <a:off x="7243532" y="2584176"/>
              <a:ext cx="489420" cy="427789"/>
            </a:xfrm>
            <a:custGeom>
              <a:avLst/>
              <a:gdLst>
                <a:gd name="T0" fmla="*/ 0 w 270"/>
                <a:gd name="T1" fmla="*/ 112 h 236"/>
                <a:gd name="T2" fmla="*/ 116 w 270"/>
                <a:gd name="T3" fmla="*/ 236 h 236"/>
                <a:gd name="T4" fmla="*/ 270 w 270"/>
                <a:gd name="T5" fmla="*/ 25 h 236"/>
                <a:gd name="T6" fmla="*/ 233 w 270"/>
                <a:gd name="T7" fmla="*/ 0 h 236"/>
                <a:gd name="T8" fmla="*/ 114 w 270"/>
                <a:gd name="T9" fmla="*/ 188 h 236"/>
                <a:gd name="T10" fmla="*/ 35 w 270"/>
                <a:gd name="T11" fmla="*/ 83 h 236"/>
                <a:gd name="T12" fmla="*/ 0 w 270"/>
                <a:gd name="T13" fmla="*/ 112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0" h="236">
                  <a:moveTo>
                    <a:pt x="0" y="112"/>
                  </a:moveTo>
                  <a:lnTo>
                    <a:pt x="116" y="236"/>
                  </a:lnTo>
                  <a:lnTo>
                    <a:pt x="270" y="25"/>
                  </a:lnTo>
                  <a:lnTo>
                    <a:pt x="233" y="0"/>
                  </a:lnTo>
                  <a:lnTo>
                    <a:pt x="114" y="188"/>
                  </a:lnTo>
                  <a:lnTo>
                    <a:pt x="35" y="83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rgbClr val="FC6D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3" name="iŝḷîḋê"/>
            <p:cNvSpPr/>
            <p:nvPr userDrawn="1"/>
          </p:nvSpPr>
          <p:spPr bwMode="auto">
            <a:xfrm>
              <a:off x="6958943" y="4547294"/>
              <a:ext cx="181267" cy="1613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4" name="ïṣlïḋe"/>
            <p:cNvSpPr/>
            <p:nvPr userDrawn="1"/>
          </p:nvSpPr>
          <p:spPr bwMode="auto">
            <a:xfrm>
              <a:off x="7317852" y="4547294"/>
              <a:ext cx="110572" cy="108760"/>
            </a:xfrm>
            <a:custGeom>
              <a:avLst/>
              <a:gdLst>
                <a:gd name="T0" fmla="*/ 11 w 61"/>
                <a:gd name="T1" fmla="*/ 0 h 60"/>
                <a:gd name="T2" fmla="*/ 0 w 61"/>
                <a:gd name="T3" fmla="*/ 0 h 60"/>
                <a:gd name="T4" fmla="*/ 0 w 61"/>
                <a:gd name="T5" fmla="*/ 60 h 60"/>
                <a:gd name="T6" fmla="*/ 61 w 61"/>
                <a:gd name="T7" fmla="*/ 60 h 60"/>
                <a:gd name="T8" fmla="*/ 61 w 61"/>
                <a:gd name="T9" fmla="*/ 47 h 60"/>
                <a:gd name="T10" fmla="*/ 11 w 61"/>
                <a:gd name="T11" fmla="*/ 47 h 60"/>
                <a:gd name="T12" fmla="*/ 11 w 61"/>
                <a:gd name="T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60">
                  <a:moveTo>
                    <a:pt x="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61" y="60"/>
                  </a:lnTo>
                  <a:lnTo>
                    <a:pt x="61" y="47"/>
                  </a:lnTo>
                  <a:lnTo>
                    <a:pt x="11" y="47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BCBE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  <p:sp>
          <p:nvSpPr>
            <p:cNvPr id="195" name="ïṧ1ïḓê"/>
            <p:cNvSpPr/>
            <p:nvPr userDrawn="1"/>
          </p:nvSpPr>
          <p:spPr bwMode="auto">
            <a:xfrm>
              <a:off x="7317852" y="4547294"/>
              <a:ext cx="110572" cy="108760"/>
            </a:xfrm>
            <a:custGeom>
              <a:avLst/>
              <a:gdLst>
                <a:gd name="T0" fmla="*/ 11 w 61"/>
                <a:gd name="T1" fmla="*/ 0 h 60"/>
                <a:gd name="T2" fmla="*/ 0 w 61"/>
                <a:gd name="T3" fmla="*/ 0 h 60"/>
                <a:gd name="T4" fmla="*/ 0 w 61"/>
                <a:gd name="T5" fmla="*/ 60 h 60"/>
                <a:gd name="T6" fmla="*/ 61 w 61"/>
                <a:gd name="T7" fmla="*/ 60 h 60"/>
                <a:gd name="T8" fmla="*/ 61 w 61"/>
                <a:gd name="T9" fmla="*/ 47 h 60"/>
                <a:gd name="T10" fmla="*/ 11 w 61"/>
                <a:gd name="T11" fmla="*/ 47 h 60"/>
                <a:gd name="T12" fmla="*/ 11 w 61"/>
                <a:gd name="T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60">
                  <a:moveTo>
                    <a:pt x="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61" y="60"/>
                  </a:lnTo>
                  <a:lnTo>
                    <a:pt x="61" y="47"/>
                  </a:lnTo>
                  <a:lnTo>
                    <a:pt x="11" y="47"/>
                  </a:lnTo>
                  <a:lnTo>
                    <a:pt x="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</a:p>
          </p:txBody>
        </p:sp>
      </p:grpSp>
      <p:sp>
        <p:nvSpPr>
          <p:cNvPr id="196" name="line-dot-chart_64739"/>
          <p:cNvSpPr>
            <a:spLocks noChangeAspect="1"/>
          </p:cNvSpPr>
          <p:nvPr userDrawn="1"/>
        </p:nvSpPr>
        <p:spPr bwMode="auto">
          <a:xfrm rot="21031582">
            <a:off x="1334238" y="2635691"/>
            <a:ext cx="782899" cy="781719"/>
          </a:xfrm>
          <a:custGeom>
            <a:avLst/>
            <a:gdLst>
              <a:gd name="connsiteX0" fmla="*/ 556672 w 608415"/>
              <a:gd name="connsiteY0" fmla="*/ 135486 h 607498"/>
              <a:gd name="connsiteX1" fmla="*/ 600088 w 608415"/>
              <a:gd name="connsiteY1" fmla="*/ 178963 h 607498"/>
              <a:gd name="connsiteX2" fmla="*/ 559149 w 608415"/>
              <a:gd name="connsiteY2" fmla="*/ 222309 h 607498"/>
              <a:gd name="connsiteX3" fmla="*/ 464886 w 608415"/>
              <a:gd name="connsiteY3" fmla="*/ 343757 h 607498"/>
              <a:gd name="connsiteX4" fmla="*/ 465146 w 608415"/>
              <a:gd name="connsiteY4" fmla="*/ 348443 h 607498"/>
              <a:gd name="connsiteX5" fmla="*/ 421730 w 608415"/>
              <a:gd name="connsiteY5" fmla="*/ 391790 h 607498"/>
              <a:gd name="connsiteX6" fmla="*/ 379879 w 608415"/>
              <a:gd name="connsiteY6" fmla="*/ 360419 h 607498"/>
              <a:gd name="connsiteX7" fmla="*/ 286137 w 608415"/>
              <a:gd name="connsiteY7" fmla="*/ 308091 h 607498"/>
              <a:gd name="connsiteX8" fmla="*/ 266971 w 608415"/>
              <a:gd name="connsiteY8" fmla="*/ 311345 h 607498"/>
              <a:gd name="connsiteX9" fmla="*/ 189657 w 608415"/>
              <a:gd name="connsiteY9" fmla="*/ 396085 h 607498"/>
              <a:gd name="connsiteX10" fmla="*/ 189917 w 608415"/>
              <a:gd name="connsiteY10" fmla="*/ 400511 h 607498"/>
              <a:gd name="connsiteX11" fmla="*/ 146371 w 608415"/>
              <a:gd name="connsiteY11" fmla="*/ 443857 h 607498"/>
              <a:gd name="connsiteX12" fmla="*/ 102955 w 608415"/>
              <a:gd name="connsiteY12" fmla="*/ 400511 h 607498"/>
              <a:gd name="connsiteX13" fmla="*/ 145198 w 608415"/>
              <a:gd name="connsiteY13" fmla="*/ 357165 h 607498"/>
              <a:gd name="connsiteX14" fmla="*/ 225771 w 608415"/>
              <a:gd name="connsiteY14" fmla="*/ 268780 h 607498"/>
              <a:gd name="connsiteX15" fmla="*/ 225771 w 608415"/>
              <a:gd name="connsiteY15" fmla="*/ 267999 h 607498"/>
              <a:gd name="connsiteX16" fmla="*/ 269318 w 608415"/>
              <a:gd name="connsiteY16" fmla="*/ 224652 h 607498"/>
              <a:gd name="connsiteX17" fmla="*/ 310387 w 608415"/>
              <a:gd name="connsiteY17" fmla="*/ 254070 h 607498"/>
              <a:gd name="connsiteX18" fmla="*/ 406606 w 608415"/>
              <a:gd name="connsiteY18" fmla="*/ 307700 h 607498"/>
              <a:gd name="connsiteX19" fmla="*/ 420166 w 608415"/>
              <a:gd name="connsiteY19" fmla="*/ 305097 h 607498"/>
              <a:gd name="connsiteX20" fmla="*/ 513647 w 608415"/>
              <a:gd name="connsiteY20" fmla="*/ 184560 h 607498"/>
              <a:gd name="connsiteX21" fmla="*/ 513256 w 608415"/>
              <a:gd name="connsiteY21" fmla="*/ 178963 h 607498"/>
              <a:gd name="connsiteX22" fmla="*/ 556672 w 608415"/>
              <a:gd name="connsiteY22" fmla="*/ 135486 h 607498"/>
              <a:gd name="connsiteX23" fmla="*/ 0 w 608415"/>
              <a:gd name="connsiteY23" fmla="*/ 0 h 607498"/>
              <a:gd name="connsiteX24" fmla="*/ 69485 w 608415"/>
              <a:gd name="connsiteY24" fmla="*/ 0 h 607498"/>
              <a:gd name="connsiteX25" fmla="*/ 69485 w 608415"/>
              <a:gd name="connsiteY25" fmla="*/ 537988 h 607498"/>
              <a:gd name="connsiteX26" fmla="*/ 608415 w 608415"/>
              <a:gd name="connsiteY26" fmla="*/ 537988 h 607498"/>
              <a:gd name="connsiteX27" fmla="*/ 608415 w 608415"/>
              <a:gd name="connsiteY27" fmla="*/ 607498 h 607498"/>
              <a:gd name="connsiteX28" fmla="*/ 0 w 608415"/>
              <a:gd name="connsiteY28" fmla="*/ 607498 h 607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608415" h="607498">
                <a:moveTo>
                  <a:pt x="556672" y="135486"/>
                </a:moveTo>
                <a:cubicBezTo>
                  <a:pt x="580662" y="135486"/>
                  <a:pt x="600088" y="155012"/>
                  <a:pt x="600088" y="178963"/>
                </a:cubicBezTo>
                <a:cubicBezTo>
                  <a:pt x="600088" y="202003"/>
                  <a:pt x="581965" y="221007"/>
                  <a:pt x="559149" y="222309"/>
                </a:cubicBezTo>
                <a:lnTo>
                  <a:pt x="464886" y="343757"/>
                </a:lnTo>
                <a:cubicBezTo>
                  <a:pt x="465016" y="345319"/>
                  <a:pt x="465146" y="346881"/>
                  <a:pt x="465146" y="348443"/>
                </a:cubicBezTo>
                <a:cubicBezTo>
                  <a:pt x="465146" y="372394"/>
                  <a:pt x="445590" y="391790"/>
                  <a:pt x="421730" y="391790"/>
                </a:cubicBezTo>
                <a:cubicBezTo>
                  <a:pt x="401782" y="391790"/>
                  <a:pt x="385094" y="378642"/>
                  <a:pt x="379879" y="360419"/>
                </a:cubicBezTo>
                <a:lnTo>
                  <a:pt x="286137" y="308091"/>
                </a:lnTo>
                <a:cubicBezTo>
                  <a:pt x="280139" y="310564"/>
                  <a:pt x="273490" y="311735"/>
                  <a:pt x="266971" y="311345"/>
                </a:cubicBezTo>
                <a:lnTo>
                  <a:pt x="189657" y="396085"/>
                </a:lnTo>
                <a:cubicBezTo>
                  <a:pt x="189787" y="397517"/>
                  <a:pt x="189917" y="398949"/>
                  <a:pt x="189917" y="400511"/>
                </a:cubicBezTo>
                <a:cubicBezTo>
                  <a:pt x="189917" y="424462"/>
                  <a:pt x="170361" y="443857"/>
                  <a:pt x="146371" y="443857"/>
                </a:cubicBezTo>
                <a:cubicBezTo>
                  <a:pt x="122512" y="443857"/>
                  <a:pt x="102955" y="424462"/>
                  <a:pt x="102955" y="400511"/>
                </a:cubicBezTo>
                <a:cubicBezTo>
                  <a:pt x="102955" y="376950"/>
                  <a:pt x="121860" y="357815"/>
                  <a:pt x="145198" y="357165"/>
                </a:cubicBezTo>
                <a:lnTo>
                  <a:pt x="225771" y="268780"/>
                </a:lnTo>
                <a:cubicBezTo>
                  <a:pt x="225771" y="268519"/>
                  <a:pt x="225771" y="268259"/>
                  <a:pt x="225771" y="267999"/>
                </a:cubicBezTo>
                <a:cubicBezTo>
                  <a:pt x="225771" y="244047"/>
                  <a:pt x="245328" y="224652"/>
                  <a:pt x="269318" y="224652"/>
                </a:cubicBezTo>
                <a:cubicBezTo>
                  <a:pt x="288353" y="224652"/>
                  <a:pt x="304650" y="236758"/>
                  <a:pt x="310387" y="254070"/>
                </a:cubicBezTo>
                <a:lnTo>
                  <a:pt x="406606" y="307700"/>
                </a:lnTo>
                <a:cubicBezTo>
                  <a:pt x="410909" y="306138"/>
                  <a:pt x="415472" y="305227"/>
                  <a:pt x="420166" y="305097"/>
                </a:cubicBezTo>
                <a:lnTo>
                  <a:pt x="513647" y="184560"/>
                </a:lnTo>
                <a:cubicBezTo>
                  <a:pt x="513386" y="182738"/>
                  <a:pt x="513256" y="180785"/>
                  <a:pt x="513256" y="178963"/>
                </a:cubicBezTo>
                <a:cubicBezTo>
                  <a:pt x="513256" y="155012"/>
                  <a:pt x="532682" y="135486"/>
                  <a:pt x="556672" y="135486"/>
                </a:cubicBezTo>
                <a:close/>
                <a:moveTo>
                  <a:pt x="0" y="0"/>
                </a:moveTo>
                <a:lnTo>
                  <a:pt x="69485" y="0"/>
                </a:lnTo>
                <a:lnTo>
                  <a:pt x="69485" y="537988"/>
                </a:lnTo>
                <a:lnTo>
                  <a:pt x="608415" y="537988"/>
                </a:lnTo>
                <a:lnTo>
                  <a:pt x="608415" y="607498"/>
                </a:lnTo>
                <a:lnTo>
                  <a:pt x="0" y="607498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</p:sp>
      <p:sp>
        <p:nvSpPr>
          <p:cNvPr id="197" name="money_94943"/>
          <p:cNvSpPr>
            <a:spLocks noChangeAspect="1"/>
          </p:cNvSpPr>
          <p:nvPr userDrawn="1"/>
        </p:nvSpPr>
        <p:spPr bwMode="auto">
          <a:xfrm rot="20572893">
            <a:off x="1936176" y="4126563"/>
            <a:ext cx="514573" cy="572594"/>
          </a:xfrm>
          <a:custGeom>
            <a:avLst/>
            <a:gdLst>
              <a:gd name="connsiteX0" fmla="*/ 525873 w 544483"/>
              <a:gd name="connsiteY0" fmla="*/ 479281 h 605875"/>
              <a:gd name="connsiteX1" fmla="*/ 542232 w 544483"/>
              <a:gd name="connsiteY1" fmla="*/ 492165 h 605875"/>
              <a:gd name="connsiteX2" fmla="*/ 544483 w 544483"/>
              <a:gd name="connsiteY2" fmla="*/ 505649 h 605875"/>
              <a:gd name="connsiteX3" fmla="*/ 460890 w 544483"/>
              <a:gd name="connsiteY3" fmla="*/ 578908 h 605875"/>
              <a:gd name="connsiteX4" fmla="*/ 272242 w 544483"/>
              <a:gd name="connsiteY4" fmla="*/ 605875 h 605875"/>
              <a:gd name="connsiteX5" fmla="*/ 83593 w 544483"/>
              <a:gd name="connsiteY5" fmla="*/ 578908 h 605875"/>
              <a:gd name="connsiteX6" fmla="*/ 0 w 544483"/>
              <a:gd name="connsiteY6" fmla="*/ 505649 h 605875"/>
              <a:gd name="connsiteX7" fmla="*/ 1201 w 544483"/>
              <a:gd name="connsiteY7" fmla="*/ 495461 h 605875"/>
              <a:gd name="connsiteX8" fmla="*/ 20711 w 544483"/>
              <a:gd name="connsiteY8" fmla="*/ 480929 h 605875"/>
              <a:gd name="connsiteX9" fmla="*/ 37219 w 544483"/>
              <a:gd name="connsiteY9" fmla="*/ 485723 h 605875"/>
              <a:gd name="connsiteX10" fmla="*/ 63633 w 544483"/>
              <a:gd name="connsiteY10" fmla="*/ 495911 h 605875"/>
              <a:gd name="connsiteX11" fmla="*/ 272242 w 544483"/>
              <a:gd name="connsiteY11" fmla="*/ 526173 h 605875"/>
              <a:gd name="connsiteX12" fmla="*/ 480850 w 544483"/>
              <a:gd name="connsiteY12" fmla="*/ 495911 h 605875"/>
              <a:gd name="connsiteX13" fmla="*/ 483852 w 544483"/>
              <a:gd name="connsiteY13" fmla="*/ 494862 h 605875"/>
              <a:gd name="connsiteX14" fmla="*/ 511766 w 544483"/>
              <a:gd name="connsiteY14" fmla="*/ 483626 h 605875"/>
              <a:gd name="connsiteX15" fmla="*/ 525873 w 544483"/>
              <a:gd name="connsiteY15" fmla="*/ 479281 h 605875"/>
              <a:gd name="connsiteX16" fmla="*/ 525873 w 544483"/>
              <a:gd name="connsiteY16" fmla="*/ 343372 h 605875"/>
              <a:gd name="connsiteX17" fmla="*/ 542232 w 544483"/>
              <a:gd name="connsiteY17" fmla="*/ 356406 h 605875"/>
              <a:gd name="connsiteX18" fmla="*/ 544483 w 544483"/>
              <a:gd name="connsiteY18" fmla="*/ 369739 h 605875"/>
              <a:gd name="connsiteX19" fmla="*/ 460890 w 544483"/>
              <a:gd name="connsiteY19" fmla="*/ 442999 h 605875"/>
              <a:gd name="connsiteX20" fmla="*/ 272242 w 544483"/>
              <a:gd name="connsiteY20" fmla="*/ 469966 h 605875"/>
              <a:gd name="connsiteX21" fmla="*/ 83593 w 544483"/>
              <a:gd name="connsiteY21" fmla="*/ 442999 h 605875"/>
              <a:gd name="connsiteX22" fmla="*/ 0 w 544483"/>
              <a:gd name="connsiteY22" fmla="*/ 369739 h 605875"/>
              <a:gd name="connsiteX23" fmla="*/ 1201 w 544483"/>
              <a:gd name="connsiteY23" fmla="*/ 359552 h 605875"/>
              <a:gd name="connsiteX24" fmla="*/ 20561 w 544483"/>
              <a:gd name="connsiteY24" fmla="*/ 345020 h 605875"/>
              <a:gd name="connsiteX25" fmla="*/ 37219 w 544483"/>
              <a:gd name="connsiteY25" fmla="*/ 349814 h 605875"/>
              <a:gd name="connsiteX26" fmla="*/ 63633 w 544483"/>
              <a:gd name="connsiteY26" fmla="*/ 360151 h 605875"/>
              <a:gd name="connsiteX27" fmla="*/ 272242 w 544483"/>
              <a:gd name="connsiteY27" fmla="*/ 390264 h 605875"/>
              <a:gd name="connsiteX28" fmla="*/ 480850 w 544483"/>
              <a:gd name="connsiteY28" fmla="*/ 360151 h 605875"/>
              <a:gd name="connsiteX29" fmla="*/ 483852 w 544483"/>
              <a:gd name="connsiteY29" fmla="*/ 359103 h 605875"/>
              <a:gd name="connsiteX30" fmla="*/ 511766 w 544483"/>
              <a:gd name="connsiteY30" fmla="*/ 347717 h 605875"/>
              <a:gd name="connsiteX31" fmla="*/ 525873 w 544483"/>
              <a:gd name="connsiteY31" fmla="*/ 343372 h 605875"/>
              <a:gd name="connsiteX32" fmla="*/ 525873 w 544483"/>
              <a:gd name="connsiteY32" fmla="*/ 209297 h 605875"/>
              <a:gd name="connsiteX33" fmla="*/ 542232 w 544483"/>
              <a:gd name="connsiteY33" fmla="*/ 222331 h 605875"/>
              <a:gd name="connsiteX34" fmla="*/ 544483 w 544483"/>
              <a:gd name="connsiteY34" fmla="*/ 235664 h 605875"/>
              <a:gd name="connsiteX35" fmla="*/ 460890 w 544483"/>
              <a:gd name="connsiteY35" fmla="*/ 308924 h 605875"/>
              <a:gd name="connsiteX36" fmla="*/ 272242 w 544483"/>
              <a:gd name="connsiteY36" fmla="*/ 335891 h 605875"/>
              <a:gd name="connsiteX37" fmla="*/ 83593 w 544483"/>
              <a:gd name="connsiteY37" fmla="*/ 308924 h 605875"/>
              <a:gd name="connsiteX38" fmla="*/ 0 w 544483"/>
              <a:gd name="connsiteY38" fmla="*/ 235664 h 605875"/>
              <a:gd name="connsiteX39" fmla="*/ 1201 w 544483"/>
              <a:gd name="connsiteY39" fmla="*/ 225477 h 605875"/>
              <a:gd name="connsiteX40" fmla="*/ 20711 w 544483"/>
              <a:gd name="connsiteY40" fmla="*/ 210945 h 605875"/>
              <a:gd name="connsiteX41" fmla="*/ 37219 w 544483"/>
              <a:gd name="connsiteY41" fmla="*/ 215739 h 605875"/>
              <a:gd name="connsiteX42" fmla="*/ 63633 w 544483"/>
              <a:gd name="connsiteY42" fmla="*/ 225926 h 605875"/>
              <a:gd name="connsiteX43" fmla="*/ 272242 w 544483"/>
              <a:gd name="connsiteY43" fmla="*/ 256189 h 605875"/>
              <a:gd name="connsiteX44" fmla="*/ 480850 w 544483"/>
              <a:gd name="connsiteY44" fmla="*/ 225926 h 605875"/>
              <a:gd name="connsiteX45" fmla="*/ 483852 w 544483"/>
              <a:gd name="connsiteY45" fmla="*/ 225028 h 605875"/>
              <a:gd name="connsiteX46" fmla="*/ 511766 w 544483"/>
              <a:gd name="connsiteY46" fmla="*/ 213642 h 605875"/>
              <a:gd name="connsiteX47" fmla="*/ 525873 w 544483"/>
              <a:gd name="connsiteY47" fmla="*/ 209297 h 605875"/>
              <a:gd name="connsiteX48" fmla="*/ 272242 w 544483"/>
              <a:gd name="connsiteY48" fmla="*/ 0 h 605875"/>
              <a:gd name="connsiteX49" fmla="*/ 460890 w 544483"/>
              <a:gd name="connsiteY49" fmla="*/ 26970 h 605875"/>
              <a:gd name="connsiteX50" fmla="*/ 544483 w 544483"/>
              <a:gd name="connsiteY50" fmla="*/ 100238 h 605875"/>
              <a:gd name="connsiteX51" fmla="*/ 460890 w 544483"/>
              <a:gd name="connsiteY51" fmla="*/ 173506 h 605875"/>
              <a:gd name="connsiteX52" fmla="*/ 272242 w 544483"/>
              <a:gd name="connsiteY52" fmla="*/ 200476 h 605875"/>
              <a:gd name="connsiteX53" fmla="*/ 83593 w 544483"/>
              <a:gd name="connsiteY53" fmla="*/ 173506 h 605875"/>
              <a:gd name="connsiteX54" fmla="*/ 0 w 544483"/>
              <a:gd name="connsiteY54" fmla="*/ 100238 h 605875"/>
              <a:gd name="connsiteX55" fmla="*/ 83593 w 544483"/>
              <a:gd name="connsiteY55" fmla="*/ 26970 h 605875"/>
              <a:gd name="connsiteX56" fmla="*/ 272242 w 544483"/>
              <a:gd name="connsiteY56" fmla="*/ 0 h 605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544483" h="605875">
                <a:moveTo>
                  <a:pt x="525873" y="479281"/>
                </a:moveTo>
                <a:cubicBezTo>
                  <a:pt x="530376" y="479281"/>
                  <a:pt x="538630" y="480929"/>
                  <a:pt x="542232" y="492165"/>
                </a:cubicBezTo>
                <a:cubicBezTo>
                  <a:pt x="543733" y="496660"/>
                  <a:pt x="544483" y="501154"/>
                  <a:pt x="544483" y="505649"/>
                </a:cubicBezTo>
                <a:cubicBezTo>
                  <a:pt x="544483" y="534263"/>
                  <a:pt x="514768" y="560331"/>
                  <a:pt x="460890" y="578908"/>
                </a:cubicBezTo>
                <a:cubicBezTo>
                  <a:pt x="410313" y="596287"/>
                  <a:pt x="343378" y="605875"/>
                  <a:pt x="272242" y="605875"/>
                </a:cubicBezTo>
                <a:cubicBezTo>
                  <a:pt x="201105" y="605875"/>
                  <a:pt x="134170" y="596287"/>
                  <a:pt x="83593" y="578908"/>
                </a:cubicBezTo>
                <a:cubicBezTo>
                  <a:pt x="29715" y="560331"/>
                  <a:pt x="0" y="534263"/>
                  <a:pt x="0" y="505649"/>
                </a:cubicBezTo>
                <a:cubicBezTo>
                  <a:pt x="0" y="502203"/>
                  <a:pt x="450" y="498757"/>
                  <a:pt x="1201" y="495461"/>
                </a:cubicBezTo>
                <a:cubicBezTo>
                  <a:pt x="3002" y="488270"/>
                  <a:pt x="9755" y="480929"/>
                  <a:pt x="20711" y="480929"/>
                </a:cubicBezTo>
                <a:cubicBezTo>
                  <a:pt x="25663" y="480929"/>
                  <a:pt x="31216" y="482577"/>
                  <a:pt x="37219" y="485723"/>
                </a:cubicBezTo>
                <a:cubicBezTo>
                  <a:pt x="43222" y="488719"/>
                  <a:pt x="47575" y="490367"/>
                  <a:pt x="63633" y="495911"/>
                </a:cubicBezTo>
                <a:cubicBezTo>
                  <a:pt x="120212" y="515387"/>
                  <a:pt x="194351" y="526173"/>
                  <a:pt x="272242" y="526173"/>
                </a:cubicBezTo>
                <a:cubicBezTo>
                  <a:pt x="350132" y="526173"/>
                  <a:pt x="424271" y="515387"/>
                  <a:pt x="480850" y="495911"/>
                </a:cubicBezTo>
                <a:lnTo>
                  <a:pt x="483852" y="494862"/>
                </a:lnTo>
                <a:cubicBezTo>
                  <a:pt x="494207" y="491416"/>
                  <a:pt x="503962" y="487970"/>
                  <a:pt x="511766" y="483626"/>
                </a:cubicBezTo>
                <a:cubicBezTo>
                  <a:pt x="517019" y="480629"/>
                  <a:pt x="521671" y="479281"/>
                  <a:pt x="525873" y="479281"/>
                </a:cubicBezTo>
                <a:close/>
                <a:moveTo>
                  <a:pt x="525873" y="343372"/>
                </a:moveTo>
                <a:cubicBezTo>
                  <a:pt x="530376" y="343372"/>
                  <a:pt x="538630" y="345020"/>
                  <a:pt x="542232" y="356406"/>
                </a:cubicBezTo>
                <a:cubicBezTo>
                  <a:pt x="543733" y="360751"/>
                  <a:pt x="544483" y="365245"/>
                  <a:pt x="544483" y="369739"/>
                </a:cubicBezTo>
                <a:cubicBezTo>
                  <a:pt x="544483" y="398504"/>
                  <a:pt x="514768" y="424422"/>
                  <a:pt x="460890" y="442999"/>
                </a:cubicBezTo>
                <a:cubicBezTo>
                  <a:pt x="410313" y="460378"/>
                  <a:pt x="343378" y="469966"/>
                  <a:pt x="272242" y="469966"/>
                </a:cubicBezTo>
                <a:cubicBezTo>
                  <a:pt x="201105" y="469966"/>
                  <a:pt x="134170" y="460378"/>
                  <a:pt x="83593" y="442999"/>
                </a:cubicBezTo>
                <a:cubicBezTo>
                  <a:pt x="29715" y="424422"/>
                  <a:pt x="0" y="398504"/>
                  <a:pt x="0" y="369739"/>
                </a:cubicBezTo>
                <a:cubicBezTo>
                  <a:pt x="0" y="366294"/>
                  <a:pt x="450" y="362998"/>
                  <a:pt x="1201" y="359552"/>
                </a:cubicBezTo>
                <a:cubicBezTo>
                  <a:pt x="3002" y="352361"/>
                  <a:pt x="9755" y="345020"/>
                  <a:pt x="20561" y="345020"/>
                </a:cubicBezTo>
                <a:cubicBezTo>
                  <a:pt x="25663" y="345020"/>
                  <a:pt x="31216" y="346668"/>
                  <a:pt x="37219" y="349814"/>
                </a:cubicBezTo>
                <a:cubicBezTo>
                  <a:pt x="43222" y="352810"/>
                  <a:pt x="47575" y="354608"/>
                  <a:pt x="63633" y="360151"/>
                </a:cubicBezTo>
                <a:cubicBezTo>
                  <a:pt x="120212" y="379627"/>
                  <a:pt x="194351" y="390264"/>
                  <a:pt x="272242" y="390264"/>
                </a:cubicBezTo>
                <a:cubicBezTo>
                  <a:pt x="350132" y="390264"/>
                  <a:pt x="424271" y="379627"/>
                  <a:pt x="480850" y="360151"/>
                </a:cubicBezTo>
                <a:lnTo>
                  <a:pt x="483852" y="359103"/>
                </a:lnTo>
                <a:cubicBezTo>
                  <a:pt x="494207" y="355507"/>
                  <a:pt x="503962" y="352211"/>
                  <a:pt x="511766" y="347717"/>
                </a:cubicBezTo>
                <a:cubicBezTo>
                  <a:pt x="517019" y="344870"/>
                  <a:pt x="521671" y="343372"/>
                  <a:pt x="525873" y="343372"/>
                </a:cubicBezTo>
                <a:close/>
                <a:moveTo>
                  <a:pt x="525873" y="209297"/>
                </a:moveTo>
                <a:cubicBezTo>
                  <a:pt x="530376" y="209297"/>
                  <a:pt x="538630" y="210945"/>
                  <a:pt x="542232" y="222331"/>
                </a:cubicBezTo>
                <a:cubicBezTo>
                  <a:pt x="543733" y="226676"/>
                  <a:pt x="544483" y="231170"/>
                  <a:pt x="544483" y="235664"/>
                </a:cubicBezTo>
                <a:cubicBezTo>
                  <a:pt x="544483" y="264429"/>
                  <a:pt x="514768" y="290347"/>
                  <a:pt x="460890" y="308924"/>
                </a:cubicBezTo>
                <a:cubicBezTo>
                  <a:pt x="410313" y="326303"/>
                  <a:pt x="343378" y="335891"/>
                  <a:pt x="272242" y="335891"/>
                </a:cubicBezTo>
                <a:cubicBezTo>
                  <a:pt x="201105" y="335891"/>
                  <a:pt x="134170" y="326303"/>
                  <a:pt x="83593" y="308924"/>
                </a:cubicBezTo>
                <a:cubicBezTo>
                  <a:pt x="29715" y="290347"/>
                  <a:pt x="0" y="264429"/>
                  <a:pt x="0" y="235664"/>
                </a:cubicBezTo>
                <a:cubicBezTo>
                  <a:pt x="0" y="232219"/>
                  <a:pt x="450" y="228773"/>
                  <a:pt x="1201" y="225477"/>
                </a:cubicBezTo>
                <a:cubicBezTo>
                  <a:pt x="3002" y="218286"/>
                  <a:pt x="9755" y="210945"/>
                  <a:pt x="20711" y="210945"/>
                </a:cubicBezTo>
                <a:cubicBezTo>
                  <a:pt x="25663" y="210945"/>
                  <a:pt x="31216" y="212593"/>
                  <a:pt x="37219" y="215739"/>
                </a:cubicBezTo>
                <a:cubicBezTo>
                  <a:pt x="43222" y="218735"/>
                  <a:pt x="47575" y="220533"/>
                  <a:pt x="63633" y="225926"/>
                </a:cubicBezTo>
                <a:cubicBezTo>
                  <a:pt x="120212" y="245402"/>
                  <a:pt x="194351" y="256189"/>
                  <a:pt x="272242" y="256189"/>
                </a:cubicBezTo>
                <a:cubicBezTo>
                  <a:pt x="350132" y="256189"/>
                  <a:pt x="424271" y="245402"/>
                  <a:pt x="480850" y="225926"/>
                </a:cubicBezTo>
                <a:lnTo>
                  <a:pt x="483852" y="225028"/>
                </a:lnTo>
                <a:cubicBezTo>
                  <a:pt x="494207" y="221432"/>
                  <a:pt x="503962" y="217986"/>
                  <a:pt x="511766" y="213642"/>
                </a:cubicBezTo>
                <a:cubicBezTo>
                  <a:pt x="517019" y="210795"/>
                  <a:pt x="521671" y="209297"/>
                  <a:pt x="525873" y="209297"/>
                </a:cubicBezTo>
                <a:close/>
                <a:moveTo>
                  <a:pt x="272242" y="0"/>
                </a:moveTo>
                <a:cubicBezTo>
                  <a:pt x="343378" y="0"/>
                  <a:pt x="410313" y="9589"/>
                  <a:pt x="460890" y="26970"/>
                </a:cubicBezTo>
                <a:cubicBezTo>
                  <a:pt x="514768" y="45549"/>
                  <a:pt x="544483" y="71620"/>
                  <a:pt x="544483" y="100238"/>
                </a:cubicBezTo>
                <a:cubicBezTo>
                  <a:pt x="544483" y="129006"/>
                  <a:pt x="514768" y="154927"/>
                  <a:pt x="460890" y="173506"/>
                </a:cubicBezTo>
                <a:cubicBezTo>
                  <a:pt x="410313" y="190887"/>
                  <a:pt x="343378" y="200476"/>
                  <a:pt x="272242" y="200476"/>
                </a:cubicBezTo>
                <a:cubicBezTo>
                  <a:pt x="201105" y="200476"/>
                  <a:pt x="134170" y="190887"/>
                  <a:pt x="83593" y="173506"/>
                </a:cubicBezTo>
                <a:cubicBezTo>
                  <a:pt x="29715" y="154927"/>
                  <a:pt x="0" y="129006"/>
                  <a:pt x="0" y="100238"/>
                </a:cubicBezTo>
                <a:cubicBezTo>
                  <a:pt x="0" y="71620"/>
                  <a:pt x="29715" y="45549"/>
                  <a:pt x="83593" y="26970"/>
                </a:cubicBezTo>
                <a:cubicBezTo>
                  <a:pt x="134170" y="9589"/>
                  <a:pt x="201105" y="0"/>
                  <a:pt x="272242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</p:sp>
      <p:sp>
        <p:nvSpPr>
          <p:cNvPr id="198" name="economic-investment_66030"/>
          <p:cNvSpPr>
            <a:spLocks noChangeAspect="1"/>
          </p:cNvSpPr>
          <p:nvPr userDrawn="1"/>
        </p:nvSpPr>
        <p:spPr bwMode="auto">
          <a:xfrm rot="873812">
            <a:off x="4108168" y="1366934"/>
            <a:ext cx="713089" cy="711994"/>
          </a:xfrm>
          <a:custGeom>
            <a:avLst/>
            <a:gdLst>
              <a:gd name="connsiteX0" fmla="*/ 333891 w 578320"/>
              <a:gd name="connsiteY0" fmla="*/ 314976 h 577432"/>
              <a:gd name="connsiteX1" fmla="*/ 398475 w 578320"/>
              <a:gd name="connsiteY1" fmla="*/ 314976 h 577432"/>
              <a:gd name="connsiteX2" fmla="*/ 424308 w 578320"/>
              <a:gd name="connsiteY2" fmla="*/ 340761 h 577432"/>
              <a:gd name="connsiteX3" fmla="*/ 424308 w 578320"/>
              <a:gd name="connsiteY3" fmla="*/ 550726 h 577432"/>
              <a:gd name="connsiteX4" fmla="*/ 398475 w 578320"/>
              <a:gd name="connsiteY4" fmla="*/ 577432 h 577432"/>
              <a:gd name="connsiteX5" fmla="*/ 333891 w 578320"/>
              <a:gd name="connsiteY5" fmla="*/ 577432 h 577432"/>
              <a:gd name="connsiteX6" fmla="*/ 307135 w 578320"/>
              <a:gd name="connsiteY6" fmla="*/ 550726 h 577432"/>
              <a:gd name="connsiteX7" fmla="*/ 307135 w 578320"/>
              <a:gd name="connsiteY7" fmla="*/ 340761 h 577432"/>
              <a:gd name="connsiteX8" fmla="*/ 333891 w 578320"/>
              <a:gd name="connsiteY8" fmla="*/ 314976 h 577432"/>
              <a:gd name="connsiteX9" fmla="*/ 179853 w 578320"/>
              <a:gd name="connsiteY9" fmla="*/ 314976 h 577432"/>
              <a:gd name="connsiteX10" fmla="*/ 244456 w 578320"/>
              <a:gd name="connsiteY10" fmla="*/ 314976 h 577432"/>
              <a:gd name="connsiteX11" fmla="*/ 270297 w 578320"/>
              <a:gd name="connsiteY11" fmla="*/ 340761 h 577432"/>
              <a:gd name="connsiteX12" fmla="*/ 270297 w 578320"/>
              <a:gd name="connsiteY12" fmla="*/ 550726 h 577432"/>
              <a:gd name="connsiteX13" fmla="*/ 244456 w 578320"/>
              <a:gd name="connsiteY13" fmla="*/ 577432 h 577432"/>
              <a:gd name="connsiteX14" fmla="*/ 179853 w 578320"/>
              <a:gd name="connsiteY14" fmla="*/ 577432 h 577432"/>
              <a:gd name="connsiteX15" fmla="*/ 154012 w 578320"/>
              <a:gd name="connsiteY15" fmla="*/ 550726 h 577432"/>
              <a:gd name="connsiteX16" fmla="*/ 154012 w 578320"/>
              <a:gd name="connsiteY16" fmla="*/ 340761 h 577432"/>
              <a:gd name="connsiteX17" fmla="*/ 179853 w 578320"/>
              <a:gd name="connsiteY17" fmla="*/ 314976 h 577432"/>
              <a:gd name="connsiteX18" fmla="*/ 486981 w 578320"/>
              <a:gd name="connsiteY18" fmla="*/ 235677 h 577432"/>
              <a:gd name="connsiteX19" fmla="*/ 551564 w 578320"/>
              <a:gd name="connsiteY19" fmla="*/ 235677 h 577432"/>
              <a:gd name="connsiteX20" fmla="*/ 578320 w 578320"/>
              <a:gd name="connsiteY20" fmla="*/ 262391 h 577432"/>
              <a:gd name="connsiteX21" fmla="*/ 578320 w 578320"/>
              <a:gd name="connsiteY21" fmla="*/ 550718 h 577432"/>
              <a:gd name="connsiteX22" fmla="*/ 551564 w 578320"/>
              <a:gd name="connsiteY22" fmla="*/ 577432 h 577432"/>
              <a:gd name="connsiteX23" fmla="*/ 486981 w 578320"/>
              <a:gd name="connsiteY23" fmla="*/ 577432 h 577432"/>
              <a:gd name="connsiteX24" fmla="*/ 461147 w 578320"/>
              <a:gd name="connsiteY24" fmla="*/ 550718 h 577432"/>
              <a:gd name="connsiteX25" fmla="*/ 461147 w 578320"/>
              <a:gd name="connsiteY25" fmla="*/ 262391 h 577432"/>
              <a:gd name="connsiteX26" fmla="*/ 486981 w 578320"/>
              <a:gd name="connsiteY26" fmla="*/ 235677 h 577432"/>
              <a:gd name="connsiteX27" fmla="*/ 25833 w 578320"/>
              <a:gd name="connsiteY27" fmla="*/ 235677 h 577432"/>
              <a:gd name="connsiteX28" fmla="*/ 90417 w 578320"/>
              <a:gd name="connsiteY28" fmla="*/ 235677 h 577432"/>
              <a:gd name="connsiteX29" fmla="*/ 117173 w 578320"/>
              <a:gd name="connsiteY29" fmla="*/ 262391 h 577432"/>
              <a:gd name="connsiteX30" fmla="*/ 117173 w 578320"/>
              <a:gd name="connsiteY30" fmla="*/ 550718 h 577432"/>
              <a:gd name="connsiteX31" fmla="*/ 90417 w 578320"/>
              <a:gd name="connsiteY31" fmla="*/ 577432 h 577432"/>
              <a:gd name="connsiteX32" fmla="*/ 25833 w 578320"/>
              <a:gd name="connsiteY32" fmla="*/ 577432 h 577432"/>
              <a:gd name="connsiteX33" fmla="*/ 0 w 578320"/>
              <a:gd name="connsiteY33" fmla="*/ 550718 h 577432"/>
              <a:gd name="connsiteX34" fmla="*/ 0 w 578320"/>
              <a:gd name="connsiteY34" fmla="*/ 262391 h 577432"/>
              <a:gd name="connsiteX35" fmla="*/ 25833 w 578320"/>
              <a:gd name="connsiteY35" fmla="*/ 235677 h 577432"/>
              <a:gd name="connsiteX36" fmla="*/ 297075 w 578320"/>
              <a:gd name="connsiteY36" fmla="*/ 158450 h 577432"/>
              <a:gd name="connsiteX37" fmla="*/ 326516 w 578320"/>
              <a:gd name="connsiteY37" fmla="*/ 181440 h 577432"/>
              <a:gd name="connsiteX38" fmla="*/ 297075 w 578320"/>
              <a:gd name="connsiteY38" fmla="*/ 205349 h 577432"/>
              <a:gd name="connsiteX39" fmla="*/ 282280 w 578320"/>
              <a:gd name="connsiteY39" fmla="*/ 81074 h 577432"/>
              <a:gd name="connsiteX40" fmla="*/ 282280 w 578320"/>
              <a:gd name="connsiteY40" fmla="*/ 124274 h 577432"/>
              <a:gd name="connsiteX41" fmla="*/ 255502 w 578320"/>
              <a:gd name="connsiteY41" fmla="*/ 101295 h 577432"/>
              <a:gd name="connsiteX42" fmla="*/ 282280 w 578320"/>
              <a:gd name="connsiteY42" fmla="*/ 81074 h 577432"/>
              <a:gd name="connsiteX43" fmla="*/ 289621 w 578320"/>
              <a:gd name="connsiteY43" fmla="*/ 35910 h 577432"/>
              <a:gd name="connsiteX44" fmla="*/ 282244 w 578320"/>
              <a:gd name="connsiteY44" fmla="*/ 44197 h 577432"/>
              <a:gd name="connsiteX45" fmla="*/ 282244 w 578320"/>
              <a:gd name="connsiteY45" fmla="*/ 57087 h 577432"/>
              <a:gd name="connsiteX46" fmla="*/ 225069 w 578320"/>
              <a:gd name="connsiteY46" fmla="*/ 106808 h 577432"/>
              <a:gd name="connsiteX47" fmla="*/ 282244 w 578320"/>
              <a:gd name="connsiteY47" fmla="*/ 155609 h 577432"/>
              <a:gd name="connsiteX48" fmla="*/ 282244 w 578320"/>
              <a:gd name="connsiteY48" fmla="*/ 205330 h 577432"/>
              <a:gd name="connsiteX49" fmla="*/ 237057 w 578320"/>
              <a:gd name="connsiteY49" fmla="*/ 170341 h 577432"/>
              <a:gd name="connsiteX50" fmla="*/ 222302 w 578320"/>
              <a:gd name="connsiteY50" fmla="*/ 185994 h 577432"/>
              <a:gd name="connsiteX51" fmla="*/ 282244 w 578320"/>
              <a:gd name="connsiteY51" fmla="*/ 229269 h 577432"/>
              <a:gd name="connsiteX52" fmla="*/ 282244 w 578320"/>
              <a:gd name="connsiteY52" fmla="*/ 244002 h 577432"/>
              <a:gd name="connsiteX53" fmla="*/ 289621 w 578320"/>
              <a:gd name="connsiteY53" fmla="*/ 252288 h 577432"/>
              <a:gd name="connsiteX54" fmla="*/ 296999 w 578320"/>
              <a:gd name="connsiteY54" fmla="*/ 244002 h 577432"/>
              <a:gd name="connsiteX55" fmla="*/ 296999 w 578320"/>
              <a:gd name="connsiteY55" fmla="*/ 229269 h 577432"/>
              <a:gd name="connsiteX56" fmla="*/ 356018 w 578320"/>
              <a:gd name="connsiteY56" fmla="*/ 179548 h 577432"/>
              <a:gd name="connsiteX57" fmla="*/ 296999 w 578320"/>
              <a:gd name="connsiteY57" fmla="*/ 126144 h 577432"/>
              <a:gd name="connsiteX58" fmla="*/ 296999 w 578320"/>
              <a:gd name="connsiteY58" fmla="*/ 81027 h 577432"/>
              <a:gd name="connsiteX59" fmla="*/ 338497 w 578320"/>
              <a:gd name="connsiteY59" fmla="*/ 106808 h 577432"/>
              <a:gd name="connsiteX60" fmla="*/ 353252 w 578320"/>
              <a:gd name="connsiteY60" fmla="*/ 92076 h 577432"/>
              <a:gd name="connsiteX61" fmla="*/ 296999 w 578320"/>
              <a:gd name="connsiteY61" fmla="*/ 57087 h 577432"/>
              <a:gd name="connsiteX62" fmla="*/ 296999 w 578320"/>
              <a:gd name="connsiteY62" fmla="*/ 44197 h 577432"/>
              <a:gd name="connsiteX63" fmla="*/ 289621 w 578320"/>
              <a:gd name="connsiteY63" fmla="*/ 35910 h 577432"/>
              <a:gd name="connsiteX64" fmla="*/ 288699 w 578320"/>
              <a:gd name="connsiteY64" fmla="*/ 0 h 577432"/>
              <a:gd name="connsiteX65" fmla="*/ 433481 w 578320"/>
              <a:gd name="connsiteY65" fmla="*/ 144559 h 577432"/>
              <a:gd name="connsiteX66" fmla="*/ 288699 w 578320"/>
              <a:gd name="connsiteY66" fmla="*/ 288198 h 577432"/>
              <a:gd name="connsiteX67" fmla="*/ 144839 w 578320"/>
              <a:gd name="connsiteY67" fmla="*/ 144559 h 577432"/>
              <a:gd name="connsiteX68" fmla="*/ 288699 w 578320"/>
              <a:gd name="connsiteY68" fmla="*/ 0 h 57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578320" h="577432">
                <a:moveTo>
                  <a:pt x="333891" y="314976"/>
                </a:moveTo>
                <a:lnTo>
                  <a:pt x="398475" y="314976"/>
                </a:lnTo>
                <a:cubicBezTo>
                  <a:pt x="412314" y="314976"/>
                  <a:pt x="424308" y="326948"/>
                  <a:pt x="424308" y="340761"/>
                </a:cubicBezTo>
                <a:lnTo>
                  <a:pt x="424308" y="550726"/>
                </a:lnTo>
                <a:cubicBezTo>
                  <a:pt x="424308" y="565460"/>
                  <a:pt x="412314" y="577432"/>
                  <a:pt x="398475" y="577432"/>
                </a:cubicBezTo>
                <a:lnTo>
                  <a:pt x="333891" y="577432"/>
                </a:lnTo>
                <a:cubicBezTo>
                  <a:pt x="319129" y="577432"/>
                  <a:pt x="307135" y="565460"/>
                  <a:pt x="307135" y="550726"/>
                </a:cubicBezTo>
                <a:lnTo>
                  <a:pt x="307135" y="340761"/>
                </a:lnTo>
                <a:cubicBezTo>
                  <a:pt x="307135" y="326948"/>
                  <a:pt x="319129" y="314976"/>
                  <a:pt x="333891" y="314976"/>
                </a:cubicBezTo>
                <a:close/>
                <a:moveTo>
                  <a:pt x="179853" y="314976"/>
                </a:moveTo>
                <a:lnTo>
                  <a:pt x="244456" y="314976"/>
                </a:lnTo>
                <a:cubicBezTo>
                  <a:pt x="259222" y="314976"/>
                  <a:pt x="270297" y="326948"/>
                  <a:pt x="270297" y="340761"/>
                </a:cubicBezTo>
                <a:lnTo>
                  <a:pt x="270297" y="550726"/>
                </a:lnTo>
                <a:cubicBezTo>
                  <a:pt x="270297" y="565460"/>
                  <a:pt x="259222" y="577432"/>
                  <a:pt x="244456" y="577432"/>
                </a:cubicBezTo>
                <a:lnTo>
                  <a:pt x="179853" y="577432"/>
                </a:lnTo>
                <a:cubicBezTo>
                  <a:pt x="165087" y="577432"/>
                  <a:pt x="154012" y="565460"/>
                  <a:pt x="154012" y="550726"/>
                </a:cubicBezTo>
                <a:lnTo>
                  <a:pt x="154012" y="340761"/>
                </a:lnTo>
                <a:cubicBezTo>
                  <a:pt x="154012" y="326948"/>
                  <a:pt x="165087" y="314976"/>
                  <a:pt x="179853" y="314976"/>
                </a:cubicBezTo>
                <a:close/>
                <a:moveTo>
                  <a:pt x="486981" y="235677"/>
                </a:moveTo>
                <a:lnTo>
                  <a:pt x="551564" y="235677"/>
                </a:lnTo>
                <a:cubicBezTo>
                  <a:pt x="566326" y="235677"/>
                  <a:pt x="578320" y="247652"/>
                  <a:pt x="578320" y="262391"/>
                </a:cubicBezTo>
                <a:lnTo>
                  <a:pt x="578320" y="550718"/>
                </a:lnTo>
                <a:cubicBezTo>
                  <a:pt x="578320" y="565457"/>
                  <a:pt x="566326" y="577432"/>
                  <a:pt x="551564" y="577432"/>
                </a:cubicBezTo>
                <a:lnTo>
                  <a:pt x="486981" y="577432"/>
                </a:lnTo>
                <a:cubicBezTo>
                  <a:pt x="473141" y="577432"/>
                  <a:pt x="461147" y="565457"/>
                  <a:pt x="461147" y="550718"/>
                </a:cubicBezTo>
                <a:lnTo>
                  <a:pt x="461147" y="262391"/>
                </a:lnTo>
                <a:cubicBezTo>
                  <a:pt x="461147" y="247652"/>
                  <a:pt x="473141" y="235677"/>
                  <a:pt x="486981" y="235677"/>
                </a:cubicBezTo>
                <a:close/>
                <a:moveTo>
                  <a:pt x="25833" y="235677"/>
                </a:moveTo>
                <a:lnTo>
                  <a:pt x="90417" y="235677"/>
                </a:lnTo>
                <a:cubicBezTo>
                  <a:pt x="105179" y="235677"/>
                  <a:pt x="117173" y="247652"/>
                  <a:pt x="117173" y="262391"/>
                </a:cubicBezTo>
                <a:lnTo>
                  <a:pt x="117173" y="550718"/>
                </a:lnTo>
                <a:cubicBezTo>
                  <a:pt x="117173" y="565457"/>
                  <a:pt x="105179" y="577432"/>
                  <a:pt x="90417" y="577432"/>
                </a:cubicBezTo>
                <a:lnTo>
                  <a:pt x="25833" y="577432"/>
                </a:lnTo>
                <a:cubicBezTo>
                  <a:pt x="11994" y="577432"/>
                  <a:pt x="0" y="565457"/>
                  <a:pt x="0" y="550718"/>
                </a:cubicBezTo>
                <a:lnTo>
                  <a:pt x="0" y="262391"/>
                </a:lnTo>
                <a:cubicBezTo>
                  <a:pt x="0" y="247652"/>
                  <a:pt x="11994" y="235677"/>
                  <a:pt x="25833" y="235677"/>
                </a:cubicBezTo>
                <a:close/>
                <a:moveTo>
                  <a:pt x="297075" y="158450"/>
                </a:moveTo>
                <a:cubicBezTo>
                  <a:pt x="309956" y="161209"/>
                  <a:pt x="326516" y="165807"/>
                  <a:pt x="326516" y="181440"/>
                </a:cubicBezTo>
                <a:cubicBezTo>
                  <a:pt x="326516" y="197992"/>
                  <a:pt x="310876" y="204429"/>
                  <a:pt x="297075" y="205349"/>
                </a:cubicBezTo>
                <a:close/>
                <a:moveTo>
                  <a:pt x="282280" y="81074"/>
                </a:moveTo>
                <a:lnTo>
                  <a:pt x="282280" y="124274"/>
                </a:lnTo>
                <a:cubicBezTo>
                  <a:pt x="264736" y="120597"/>
                  <a:pt x="255502" y="113244"/>
                  <a:pt x="255502" y="101295"/>
                </a:cubicBezTo>
                <a:cubicBezTo>
                  <a:pt x="255502" y="91185"/>
                  <a:pt x="265659" y="81993"/>
                  <a:pt x="282280" y="81074"/>
                </a:cubicBezTo>
                <a:close/>
                <a:moveTo>
                  <a:pt x="289621" y="35910"/>
                </a:moveTo>
                <a:cubicBezTo>
                  <a:pt x="285010" y="35910"/>
                  <a:pt x="282244" y="40514"/>
                  <a:pt x="282244" y="44197"/>
                </a:cubicBezTo>
                <a:lnTo>
                  <a:pt x="282244" y="57087"/>
                </a:lnTo>
                <a:cubicBezTo>
                  <a:pt x="252734" y="58008"/>
                  <a:pt x="225069" y="74582"/>
                  <a:pt x="225069" y="106808"/>
                </a:cubicBezTo>
                <a:cubicBezTo>
                  <a:pt x="225069" y="133510"/>
                  <a:pt x="247201" y="149163"/>
                  <a:pt x="282244" y="155609"/>
                </a:cubicBezTo>
                <a:lnTo>
                  <a:pt x="282244" y="205330"/>
                </a:lnTo>
                <a:cubicBezTo>
                  <a:pt x="242590" y="203488"/>
                  <a:pt x="263800" y="170341"/>
                  <a:pt x="237057" y="170341"/>
                </a:cubicBezTo>
                <a:cubicBezTo>
                  <a:pt x="227835" y="170341"/>
                  <a:pt x="222302" y="175865"/>
                  <a:pt x="222302" y="185994"/>
                </a:cubicBezTo>
                <a:cubicBezTo>
                  <a:pt x="222302" y="204409"/>
                  <a:pt x="241668" y="228349"/>
                  <a:pt x="282244" y="229269"/>
                </a:cubicBezTo>
                <a:lnTo>
                  <a:pt x="282244" y="244002"/>
                </a:lnTo>
                <a:cubicBezTo>
                  <a:pt x="282244" y="248605"/>
                  <a:pt x="285010" y="252288"/>
                  <a:pt x="289621" y="252288"/>
                </a:cubicBezTo>
                <a:cubicBezTo>
                  <a:pt x="293310" y="252288"/>
                  <a:pt x="296999" y="248605"/>
                  <a:pt x="296999" y="244002"/>
                </a:cubicBezTo>
                <a:lnTo>
                  <a:pt x="296999" y="229269"/>
                </a:lnTo>
                <a:cubicBezTo>
                  <a:pt x="332042" y="227428"/>
                  <a:pt x="356018" y="210854"/>
                  <a:pt x="356018" y="179548"/>
                </a:cubicBezTo>
                <a:cubicBezTo>
                  <a:pt x="356018" y="142718"/>
                  <a:pt x="328353" y="133510"/>
                  <a:pt x="296999" y="126144"/>
                </a:cubicBezTo>
                <a:lnTo>
                  <a:pt x="296999" y="81027"/>
                </a:lnTo>
                <a:cubicBezTo>
                  <a:pt x="322820" y="81948"/>
                  <a:pt x="322820" y="106808"/>
                  <a:pt x="338497" y="106808"/>
                </a:cubicBezTo>
                <a:cubicBezTo>
                  <a:pt x="346796" y="106808"/>
                  <a:pt x="353252" y="101284"/>
                  <a:pt x="353252" y="92076"/>
                </a:cubicBezTo>
                <a:cubicBezTo>
                  <a:pt x="353252" y="69057"/>
                  <a:pt x="315442" y="57087"/>
                  <a:pt x="296999" y="57087"/>
                </a:cubicBezTo>
                <a:lnTo>
                  <a:pt x="296999" y="44197"/>
                </a:lnTo>
                <a:cubicBezTo>
                  <a:pt x="296999" y="40514"/>
                  <a:pt x="293310" y="35910"/>
                  <a:pt x="289621" y="35910"/>
                </a:cubicBezTo>
                <a:close/>
                <a:moveTo>
                  <a:pt x="288699" y="0"/>
                </a:moveTo>
                <a:cubicBezTo>
                  <a:pt x="368929" y="0"/>
                  <a:pt x="433481" y="64453"/>
                  <a:pt x="433481" y="144559"/>
                </a:cubicBezTo>
                <a:cubicBezTo>
                  <a:pt x="433481" y="223745"/>
                  <a:pt x="368929" y="288198"/>
                  <a:pt x="288699" y="288198"/>
                </a:cubicBezTo>
                <a:cubicBezTo>
                  <a:pt x="209392" y="288198"/>
                  <a:pt x="144839" y="223745"/>
                  <a:pt x="144839" y="144559"/>
                </a:cubicBezTo>
                <a:cubicBezTo>
                  <a:pt x="144839" y="64453"/>
                  <a:pt x="209392" y="0"/>
                  <a:pt x="288699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</p:sp>
      <p:sp>
        <p:nvSpPr>
          <p:cNvPr id="199" name="lightbulb-idea_66298"/>
          <p:cNvSpPr>
            <a:spLocks noChangeAspect="1"/>
          </p:cNvSpPr>
          <p:nvPr userDrawn="1"/>
        </p:nvSpPr>
        <p:spPr bwMode="auto">
          <a:xfrm rot="689608">
            <a:off x="1919515" y="1397237"/>
            <a:ext cx="709084" cy="782899"/>
          </a:xfrm>
          <a:custGeom>
            <a:avLst/>
            <a:gdLst>
              <a:gd name="connsiteX0" fmla="*/ 261051 w 522989"/>
              <a:gd name="connsiteY0" fmla="*/ 362763 h 577432"/>
              <a:gd name="connsiteX1" fmla="*/ 288791 w 522989"/>
              <a:gd name="connsiteY1" fmla="*/ 390429 h 577432"/>
              <a:gd name="connsiteX2" fmla="*/ 261051 w 522989"/>
              <a:gd name="connsiteY2" fmla="*/ 418095 h 577432"/>
              <a:gd name="connsiteX3" fmla="*/ 233311 w 522989"/>
              <a:gd name="connsiteY3" fmla="*/ 390429 h 577432"/>
              <a:gd name="connsiteX4" fmla="*/ 261051 w 522989"/>
              <a:gd name="connsiteY4" fmla="*/ 362763 h 577432"/>
              <a:gd name="connsiteX5" fmla="*/ 446328 w 522989"/>
              <a:gd name="connsiteY5" fmla="*/ 358474 h 577432"/>
              <a:gd name="connsiteX6" fmla="*/ 454749 w 522989"/>
              <a:gd name="connsiteY6" fmla="*/ 360086 h 577432"/>
              <a:gd name="connsiteX7" fmla="*/ 483355 w 522989"/>
              <a:gd name="connsiteY7" fmla="*/ 376670 h 577432"/>
              <a:gd name="connsiteX8" fmla="*/ 487969 w 522989"/>
              <a:gd name="connsiteY8" fmla="*/ 391410 h 577432"/>
              <a:gd name="connsiteX9" fmla="*/ 477818 w 522989"/>
              <a:gd name="connsiteY9" fmla="*/ 396938 h 577432"/>
              <a:gd name="connsiteX10" fmla="*/ 472281 w 522989"/>
              <a:gd name="connsiteY10" fmla="*/ 395096 h 577432"/>
              <a:gd name="connsiteX11" fmla="*/ 443675 w 522989"/>
              <a:gd name="connsiteY11" fmla="*/ 378512 h 577432"/>
              <a:gd name="connsiteX12" fmla="*/ 439984 w 522989"/>
              <a:gd name="connsiteY12" fmla="*/ 363772 h 577432"/>
              <a:gd name="connsiteX13" fmla="*/ 446328 w 522989"/>
              <a:gd name="connsiteY13" fmla="*/ 358474 h 577432"/>
              <a:gd name="connsiteX14" fmla="*/ 76344 w 522989"/>
              <a:gd name="connsiteY14" fmla="*/ 358474 h 577432"/>
              <a:gd name="connsiteX15" fmla="*/ 83038 w 522989"/>
              <a:gd name="connsiteY15" fmla="*/ 363772 h 577432"/>
              <a:gd name="connsiteX16" fmla="*/ 79344 w 522989"/>
              <a:gd name="connsiteY16" fmla="*/ 378512 h 577432"/>
              <a:gd name="connsiteX17" fmla="*/ 49796 w 522989"/>
              <a:gd name="connsiteY17" fmla="*/ 395096 h 577432"/>
              <a:gd name="connsiteX18" fmla="*/ 44256 w 522989"/>
              <a:gd name="connsiteY18" fmla="*/ 396938 h 577432"/>
              <a:gd name="connsiteX19" fmla="*/ 35022 w 522989"/>
              <a:gd name="connsiteY19" fmla="*/ 391410 h 577432"/>
              <a:gd name="connsiteX20" fmla="*/ 38716 w 522989"/>
              <a:gd name="connsiteY20" fmla="*/ 376670 h 577432"/>
              <a:gd name="connsiteX21" fmla="*/ 68264 w 522989"/>
              <a:gd name="connsiteY21" fmla="*/ 360086 h 577432"/>
              <a:gd name="connsiteX22" fmla="*/ 76344 w 522989"/>
              <a:gd name="connsiteY22" fmla="*/ 358474 h 577432"/>
              <a:gd name="connsiteX23" fmla="*/ 478723 w 522989"/>
              <a:gd name="connsiteY23" fmla="*/ 249584 h 577432"/>
              <a:gd name="connsiteX24" fmla="*/ 511923 w 522989"/>
              <a:gd name="connsiteY24" fmla="*/ 249584 h 577432"/>
              <a:gd name="connsiteX25" fmla="*/ 522989 w 522989"/>
              <a:gd name="connsiteY25" fmla="*/ 260606 h 577432"/>
              <a:gd name="connsiteX26" fmla="*/ 511923 w 522989"/>
              <a:gd name="connsiteY26" fmla="*/ 271628 h 577432"/>
              <a:gd name="connsiteX27" fmla="*/ 478723 w 522989"/>
              <a:gd name="connsiteY27" fmla="*/ 271628 h 577432"/>
              <a:gd name="connsiteX28" fmla="*/ 467657 w 522989"/>
              <a:gd name="connsiteY28" fmla="*/ 260606 h 577432"/>
              <a:gd name="connsiteX29" fmla="*/ 478723 w 522989"/>
              <a:gd name="connsiteY29" fmla="*/ 249584 h 577432"/>
              <a:gd name="connsiteX30" fmla="*/ 11066 w 522989"/>
              <a:gd name="connsiteY30" fmla="*/ 249584 h 577432"/>
              <a:gd name="connsiteX31" fmla="*/ 44266 w 522989"/>
              <a:gd name="connsiteY31" fmla="*/ 249584 h 577432"/>
              <a:gd name="connsiteX32" fmla="*/ 55332 w 522989"/>
              <a:gd name="connsiteY32" fmla="*/ 260606 h 577432"/>
              <a:gd name="connsiteX33" fmla="*/ 44266 w 522989"/>
              <a:gd name="connsiteY33" fmla="*/ 271628 h 577432"/>
              <a:gd name="connsiteX34" fmla="*/ 11066 w 522989"/>
              <a:gd name="connsiteY34" fmla="*/ 271628 h 577432"/>
              <a:gd name="connsiteX35" fmla="*/ 0 w 522989"/>
              <a:gd name="connsiteY35" fmla="*/ 260606 h 577432"/>
              <a:gd name="connsiteX36" fmla="*/ 11066 w 522989"/>
              <a:gd name="connsiteY36" fmla="*/ 249584 h 577432"/>
              <a:gd name="connsiteX37" fmla="*/ 261050 w 522989"/>
              <a:gd name="connsiteY37" fmla="*/ 167622 h 577432"/>
              <a:gd name="connsiteX38" fmla="*/ 287754 w 522989"/>
              <a:gd name="connsiteY38" fmla="*/ 193402 h 577432"/>
              <a:gd name="connsiteX39" fmla="*/ 287754 w 522989"/>
              <a:gd name="connsiteY39" fmla="*/ 232993 h 577432"/>
              <a:gd name="connsiteX40" fmla="*/ 286833 w 522989"/>
              <a:gd name="connsiteY40" fmla="*/ 248645 h 577432"/>
              <a:gd name="connsiteX41" fmla="*/ 276704 w 522989"/>
              <a:gd name="connsiteY41" fmla="*/ 327828 h 577432"/>
              <a:gd name="connsiteX42" fmla="*/ 261050 w 522989"/>
              <a:gd name="connsiteY42" fmla="*/ 340718 h 577432"/>
              <a:gd name="connsiteX43" fmla="*/ 246317 w 522989"/>
              <a:gd name="connsiteY43" fmla="*/ 327828 h 577432"/>
              <a:gd name="connsiteX44" fmla="*/ 236188 w 522989"/>
              <a:gd name="connsiteY44" fmla="*/ 248645 h 577432"/>
              <a:gd name="connsiteX45" fmla="*/ 234346 w 522989"/>
              <a:gd name="connsiteY45" fmla="*/ 232993 h 577432"/>
              <a:gd name="connsiteX46" fmla="*/ 234346 w 522989"/>
              <a:gd name="connsiteY46" fmla="*/ 193402 h 577432"/>
              <a:gd name="connsiteX47" fmla="*/ 261050 w 522989"/>
              <a:gd name="connsiteY47" fmla="*/ 167622 h 577432"/>
              <a:gd name="connsiteX48" fmla="*/ 261034 w 522989"/>
              <a:gd name="connsiteY48" fmla="*/ 133592 h 577432"/>
              <a:gd name="connsiteX49" fmla="*/ 130076 w 522989"/>
              <a:gd name="connsiteY49" fmla="*/ 258825 h 577432"/>
              <a:gd name="connsiteX50" fmla="*/ 165121 w 522989"/>
              <a:gd name="connsiteY50" fmla="*/ 356433 h 577432"/>
              <a:gd name="connsiteX51" fmla="*/ 190022 w 522989"/>
              <a:gd name="connsiteY51" fmla="*/ 418129 h 577432"/>
              <a:gd name="connsiteX52" fmla="*/ 206622 w 522989"/>
              <a:gd name="connsiteY52" fmla="*/ 442070 h 577432"/>
              <a:gd name="connsiteX53" fmla="*/ 315446 w 522989"/>
              <a:gd name="connsiteY53" fmla="*/ 442070 h 577432"/>
              <a:gd name="connsiteX54" fmla="*/ 332046 w 522989"/>
              <a:gd name="connsiteY54" fmla="*/ 418129 h 577432"/>
              <a:gd name="connsiteX55" fmla="*/ 357869 w 522989"/>
              <a:gd name="connsiteY55" fmla="*/ 357354 h 577432"/>
              <a:gd name="connsiteX56" fmla="*/ 392914 w 522989"/>
              <a:gd name="connsiteY56" fmla="*/ 258825 h 577432"/>
              <a:gd name="connsiteX57" fmla="*/ 261034 w 522989"/>
              <a:gd name="connsiteY57" fmla="*/ 133592 h 577432"/>
              <a:gd name="connsiteX58" fmla="*/ 472281 w 522989"/>
              <a:gd name="connsiteY58" fmla="*/ 126151 h 577432"/>
              <a:gd name="connsiteX59" fmla="*/ 487969 w 522989"/>
              <a:gd name="connsiteY59" fmla="*/ 130757 h 577432"/>
              <a:gd name="connsiteX60" fmla="*/ 483355 w 522989"/>
              <a:gd name="connsiteY60" fmla="*/ 145498 h 577432"/>
              <a:gd name="connsiteX61" fmla="*/ 454749 w 522989"/>
              <a:gd name="connsiteY61" fmla="*/ 162081 h 577432"/>
              <a:gd name="connsiteX62" fmla="*/ 449212 w 522989"/>
              <a:gd name="connsiteY62" fmla="*/ 163924 h 577432"/>
              <a:gd name="connsiteX63" fmla="*/ 439984 w 522989"/>
              <a:gd name="connsiteY63" fmla="*/ 158396 h 577432"/>
              <a:gd name="connsiteX64" fmla="*/ 443675 w 522989"/>
              <a:gd name="connsiteY64" fmla="*/ 142734 h 577432"/>
              <a:gd name="connsiteX65" fmla="*/ 49796 w 522989"/>
              <a:gd name="connsiteY65" fmla="*/ 126151 h 577432"/>
              <a:gd name="connsiteX66" fmla="*/ 79344 w 522989"/>
              <a:gd name="connsiteY66" fmla="*/ 142734 h 577432"/>
              <a:gd name="connsiteX67" fmla="*/ 83038 w 522989"/>
              <a:gd name="connsiteY67" fmla="*/ 158396 h 577432"/>
              <a:gd name="connsiteX68" fmla="*/ 73804 w 522989"/>
              <a:gd name="connsiteY68" fmla="*/ 163924 h 577432"/>
              <a:gd name="connsiteX69" fmla="*/ 68264 w 522989"/>
              <a:gd name="connsiteY69" fmla="*/ 162081 h 577432"/>
              <a:gd name="connsiteX70" fmla="*/ 38716 w 522989"/>
              <a:gd name="connsiteY70" fmla="*/ 145498 h 577432"/>
              <a:gd name="connsiteX71" fmla="*/ 35022 w 522989"/>
              <a:gd name="connsiteY71" fmla="*/ 130757 h 577432"/>
              <a:gd name="connsiteX72" fmla="*/ 49796 w 522989"/>
              <a:gd name="connsiteY72" fmla="*/ 126151 h 577432"/>
              <a:gd name="connsiteX73" fmla="*/ 261034 w 522989"/>
              <a:gd name="connsiteY73" fmla="*/ 88472 h 577432"/>
              <a:gd name="connsiteX74" fmla="*/ 437181 w 522989"/>
              <a:gd name="connsiteY74" fmla="*/ 258825 h 577432"/>
              <a:gd name="connsiteX75" fmla="*/ 394758 w 522989"/>
              <a:gd name="connsiteY75" fmla="*/ 382217 h 577432"/>
              <a:gd name="connsiteX76" fmla="*/ 377236 w 522989"/>
              <a:gd name="connsiteY76" fmla="*/ 418129 h 577432"/>
              <a:gd name="connsiteX77" fmla="*/ 344035 w 522989"/>
              <a:gd name="connsiteY77" fmla="*/ 476141 h 577432"/>
              <a:gd name="connsiteX78" fmla="*/ 341268 w 522989"/>
              <a:gd name="connsiteY78" fmla="*/ 521262 h 577432"/>
              <a:gd name="connsiteX79" fmla="*/ 305301 w 522989"/>
              <a:gd name="connsiteY79" fmla="*/ 559016 h 577432"/>
              <a:gd name="connsiteX80" fmla="*/ 290545 w 522989"/>
              <a:gd name="connsiteY80" fmla="*/ 573749 h 577432"/>
              <a:gd name="connsiteX81" fmla="*/ 278556 w 522989"/>
              <a:gd name="connsiteY81" fmla="*/ 577432 h 577432"/>
              <a:gd name="connsiteX82" fmla="*/ 244434 w 522989"/>
              <a:gd name="connsiteY82" fmla="*/ 577432 h 577432"/>
              <a:gd name="connsiteX83" fmla="*/ 231522 w 522989"/>
              <a:gd name="connsiteY83" fmla="*/ 573749 h 577432"/>
              <a:gd name="connsiteX84" fmla="*/ 217689 w 522989"/>
              <a:gd name="connsiteY84" fmla="*/ 559016 h 577432"/>
              <a:gd name="connsiteX85" fmla="*/ 180799 w 522989"/>
              <a:gd name="connsiteY85" fmla="*/ 521262 h 577432"/>
              <a:gd name="connsiteX86" fmla="*/ 178955 w 522989"/>
              <a:gd name="connsiteY86" fmla="*/ 476141 h 577432"/>
              <a:gd name="connsiteX87" fmla="*/ 145754 w 522989"/>
              <a:gd name="connsiteY87" fmla="*/ 418129 h 577432"/>
              <a:gd name="connsiteX88" fmla="*/ 128232 w 522989"/>
              <a:gd name="connsiteY88" fmla="*/ 382217 h 577432"/>
              <a:gd name="connsiteX89" fmla="*/ 85809 w 522989"/>
              <a:gd name="connsiteY89" fmla="*/ 258825 h 577432"/>
              <a:gd name="connsiteX90" fmla="*/ 261034 w 522989"/>
              <a:gd name="connsiteY90" fmla="*/ 88472 h 577432"/>
              <a:gd name="connsiteX91" fmla="*/ 392070 w 522989"/>
              <a:gd name="connsiteY91" fmla="*/ 35016 h 577432"/>
              <a:gd name="connsiteX92" fmla="*/ 395762 w 522989"/>
              <a:gd name="connsiteY92" fmla="*/ 49759 h 577432"/>
              <a:gd name="connsiteX93" fmla="*/ 379147 w 522989"/>
              <a:gd name="connsiteY93" fmla="*/ 79244 h 577432"/>
              <a:gd name="connsiteX94" fmla="*/ 369917 w 522989"/>
              <a:gd name="connsiteY94" fmla="*/ 84773 h 577432"/>
              <a:gd name="connsiteX95" fmla="*/ 364378 w 522989"/>
              <a:gd name="connsiteY95" fmla="*/ 82930 h 577432"/>
              <a:gd name="connsiteX96" fmla="*/ 360686 w 522989"/>
              <a:gd name="connsiteY96" fmla="*/ 68187 h 577432"/>
              <a:gd name="connsiteX97" fmla="*/ 377301 w 522989"/>
              <a:gd name="connsiteY97" fmla="*/ 38702 h 577432"/>
              <a:gd name="connsiteX98" fmla="*/ 392070 w 522989"/>
              <a:gd name="connsiteY98" fmla="*/ 35016 h 577432"/>
              <a:gd name="connsiteX99" fmla="*/ 131042 w 522989"/>
              <a:gd name="connsiteY99" fmla="*/ 35016 h 577432"/>
              <a:gd name="connsiteX100" fmla="*/ 145759 w 522989"/>
              <a:gd name="connsiteY100" fmla="*/ 38702 h 577432"/>
              <a:gd name="connsiteX101" fmla="*/ 162317 w 522989"/>
              <a:gd name="connsiteY101" fmla="*/ 68187 h 577432"/>
              <a:gd name="connsiteX102" fmla="*/ 158637 w 522989"/>
              <a:gd name="connsiteY102" fmla="*/ 82930 h 577432"/>
              <a:gd name="connsiteX103" fmla="*/ 153118 w 522989"/>
              <a:gd name="connsiteY103" fmla="*/ 84773 h 577432"/>
              <a:gd name="connsiteX104" fmla="*/ 143000 w 522989"/>
              <a:gd name="connsiteY104" fmla="*/ 79244 h 577432"/>
              <a:gd name="connsiteX105" fmla="*/ 126443 w 522989"/>
              <a:gd name="connsiteY105" fmla="*/ 49759 h 577432"/>
              <a:gd name="connsiteX106" fmla="*/ 131042 w 522989"/>
              <a:gd name="connsiteY106" fmla="*/ 35016 h 577432"/>
              <a:gd name="connsiteX107" fmla="*/ 261051 w 522989"/>
              <a:gd name="connsiteY107" fmla="*/ 0 h 577432"/>
              <a:gd name="connsiteX108" fmla="*/ 272073 w 522989"/>
              <a:gd name="connsiteY108" fmla="*/ 11037 h 577432"/>
              <a:gd name="connsiteX109" fmla="*/ 272073 w 522989"/>
              <a:gd name="connsiteY109" fmla="*/ 44147 h 577432"/>
              <a:gd name="connsiteX110" fmla="*/ 261051 w 522989"/>
              <a:gd name="connsiteY110" fmla="*/ 55184 h 577432"/>
              <a:gd name="connsiteX111" fmla="*/ 250029 w 522989"/>
              <a:gd name="connsiteY111" fmla="*/ 44147 h 577432"/>
              <a:gd name="connsiteX112" fmla="*/ 250029 w 522989"/>
              <a:gd name="connsiteY112" fmla="*/ 11037 h 577432"/>
              <a:gd name="connsiteX113" fmla="*/ 261051 w 522989"/>
              <a:gd name="connsiteY113" fmla="*/ 0 h 57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</a:cxnLst>
            <a:rect l="l" t="t" r="r" b="b"/>
            <a:pathLst>
              <a:path w="522989" h="577432">
                <a:moveTo>
                  <a:pt x="261051" y="362763"/>
                </a:moveTo>
                <a:cubicBezTo>
                  <a:pt x="276371" y="362763"/>
                  <a:pt x="288791" y="375149"/>
                  <a:pt x="288791" y="390429"/>
                </a:cubicBezTo>
                <a:cubicBezTo>
                  <a:pt x="288791" y="405709"/>
                  <a:pt x="276371" y="418095"/>
                  <a:pt x="261051" y="418095"/>
                </a:cubicBezTo>
                <a:cubicBezTo>
                  <a:pt x="245731" y="418095"/>
                  <a:pt x="233311" y="405709"/>
                  <a:pt x="233311" y="390429"/>
                </a:cubicBezTo>
                <a:cubicBezTo>
                  <a:pt x="233311" y="375149"/>
                  <a:pt x="245731" y="362763"/>
                  <a:pt x="261051" y="362763"/>
                </a:cubicBezTo>
                <a:close/>
                <a:moveTo>
                  <a:pt x="446328" y="358474"/>
                </a:moveTo>
                <a:cubicBezTo>
                  <a:pt x="448981" y="357783"/>
                  <a:pt x="451980" y="358243"/>
                  <a:pt x="454749" y="360086"/>
                </a:cubicBezTo>
                <a:lnTo>
                  <a:pt x="483355" y="376670"/>
                </a:lnTo>
                <a:cubicBezTo>
                  <a:pt x="488891" y="379434"/>
                  <a:pt x="490737" y="385883"/>
                  <a:pt x="487969" y="391410"/>
                </a:cubicBezTo>
                <a:cubicBezTo>
                  <a:pt x="486123" y="395096"/>
                  <a:pt x="481509" y="396938"/>
                  <a:pt x="477818" y="396938"/>
                </a:cubicBezTo>
                <a:cubicBezTo>
                  <a:pt x="475973" y="396938"/>
                  <a:pt x="474127" y="396938"/>
                  <a:pt x="472281" y="395096"/>
                </a:cubicBezTo>
                <a:lnTo>
                  <a:pt x="443675" y="378512"/>
                </a:lnTo>
                <a:cubicBezTo>
                  <a:pt x="438139" y="375748"/>
                  <a:pt x="436293" y="369299"/>
                  <a:pt x="439984" y="363772"/>
                </a:cubicBezTo>
                <a:cubicBezTo>
                  <a:pt x="441368" y="361007"/>
                  <a:pt x="443675" y="359165"/>
                  <a:pt x="446328" y="358474"/>
                </a:cubicBezTo>
                <a:close/>
                <a:moveTo>
                  <a:pt x="76344" y="358474"/>
                </a:moveTo>
                <a:cubicBezTo>
                  <a:pt x="79114" y="359165"/>
                  <a:pt x="81653" y="361007"/>
                  <a:pt x="83038" y="363772"/>
                </a:cubicBezTo>
                <a:cubicBezTo>
                  <a:pt x="85808" y="369299"/>
                  <a:pt x="83961" y="375748"/>
                  <a:pt x="79344" y="378512"/>
                </a:cubicBezTo>
                <a:lnTo>
                  <a:pt x="49796" y="395096"/>
                </a:lnTo>
                <a:cubicBezTo>
                  <a:pt x="47949" y="396938"/>
                  <a:pt x="46103" y="396938"/>
                  <a:pt x="44256" y="396938"/>
                </a:cubicBezTo>
                <a:cubicBezTo>
                  <a:pt x="40562" y="396938"/>
                  <a:pt x="36869" y="395096"/>
                  <a:pt x="35022" y="391410"/>
                </a:cubicBezTo>
                <a:cubicBezTo>
                  <a:pt x="32252" y="385883"/>
                  <a:pt x="34099" y="379434"/>
                  <a:pt x="38716" y="376670"/>
                </a:cubicBezTo>
                <a:lnTo>
                  <a:pt x="68264" y="360086"/>
                </a:lnTo>
                <a:cubicBezTo>
                  <a:pt x="70573" y="358243"/>
                  <a:pt x="73574" y="357783"/>
                  <a:pt x="76344" y="358474"/>
                </a:cubicBezTo>
                <a:close/>
                <a:moveTo>
                  <a:pt x="478723" y="249584"/>
                </a:moveTo>
                <a:lnTo>
                  <a:pt x="511923" y="249584"/>
                </a:lnTo>
                <a:cubicBezTo>
                  <a:pt x="517456" y="249584"/>
                  <a:pt x="522989" y="255095"/>
                  <a:pt x="522989" y="260606"/>
                </a:cubicBezTo>
                <a:cubicBezTo>
                  <a:pt x="522989" y="267035"/>
                  <a:pt x="517456" y="271628"/>
                  <a:pt x="511923" y="271628"/>
                </a:cubicBezTo>
                <a:lnTo>
                  <a:pt x="478723" y="271628"/>
                </a:lnTo>
                <a:cubicBezTo>
                  <a:pt x="472268" y="271628"/>
                  <a:pt x="467657" y="267035"/>
                  <a:pt x="467657" y="260606"/>
                </a:cubicBezTo>
                <a:cubicBezTo>
                  <a:pt x="467657" y="255095"/>
                  <a:pt x="472268" y="249584"/>
                  <a:pt x="478723" y="249584"/>
                </a:cubicBezTo>
                <a:close/>
                <a:moveTo>
                  <a:pt x="11066" y="249584"/>
                </a:moveTo>
                <a:lnTo>
                  <a:pt x="44266" y="249584"/>
                </a:lnTo>
                <a:cubicBezTo>
                  <a:pt x="50721" y="249584"/>
                  <a:pt x="55332" y="255095"/>
                  <a:pt x="55332" y="260606"/>
                </a:cubicBezTo>
                <a:cubicBezTo>
                  <a:pt x="55332" y="267035"/>
                  <a:pt x="50721" y="271628"/>
                  <a:pt x="44266" y="271628"/>
                </a:cubicBezTo>
                <a:lnTo>
                  <a:pt x="11066" y="271628"/>
                </a:lnTo>
                <a:cubicBezTo>
                  <a:pt x="4611" y="271628"/>
                  <a:pt x="0" y="267035"/>
                  <a:pt x="0" y="260606"/>
                </a:cubicBezTo>
                <a:cubicBezTo>
                  <a:pt x="0" y="255095"/>
                  <a:pt x="4611" y="249584"/>
                  <a:pt x="11066" y="249584"/>
                </a:cubicBezTo>
                <a:close/>
                <a:moveTo>
                  <a:pt x="261050" y="167622"/>
                </a:moveTo>
                <a:cubicBezTo>
                  <a:pt x="278546" y="167622"/>
                  <a:pt x="287754" y="176829"/>
                  <a:pt x="287754" y="193402"/>
                </a:cubicBezTo>
                <a:lnTo>
                  <a:pt x="287754" y="232993"/>
                </a:lnTo>
                <a:cubicBezTo>
                  <a:pt x="287754" y="237597"/>
                  <a:pt x="287754" y="243121"/>
                  <a:pt x="286833" y="248645"/>
                </a:cubicBezTo>
                <a:lnTo>
                  <a:pt x="276704" y="327828"/>
                </a:lnTo>
                <a:cubicBezTo>
                  <a:pt x="274862" y="337956"/>
                  <a:pt x="270258" y="340718"/>
                  <a:pt x="261050" y="340718"/>
                </a:cubicBezTo>
                <a:cubicBezTo>
                  <a:pt x="252763" y="340718"/>
                  <a:pt x="248158" y="337956"/>
                  <a:pt x="246317" y="327828"/>
                </a:cubicBezTo>
                <a:lnTo>
                  <a:pt x="236188" y="248645"/>
                </a:lnTo>
                <a:cubicBezTo>
                  <a:pt x="235267" y="243121"/>
                  <a:pt x="234346" y="237597"/>
                  <a:pt x="234346" y="232993"/>
                </a:cubicBezTo>
                <a:lnTo>
                  <a:pt x="234346" y="193402"/>
                </a:lnTo>
                <a:cubicBezTo>
                  <a:pt x="234346" y="176829"/>
                  <a:pt x="244475" y="167622"/>
                  <a:pt x="261050" y="167622"/>
                </a:cubicBezTo>
                <a:close/>
                <a:moveTo>
                  <a:pt x="261034" y="133592"/>
                </a:moveTo>
                <a:cubicBezTo>
                  <a:pt x="189099" y="133592"/>
                  <a:pt x="130076" y="189763"/>
                  <a:pt x="130076" y="258825"/>
                </a:cubicBezTo>
                <a:cubicBezTo>
                  <a:pt x="130076" y="305787"/>
                  <a:pt x="148521" y="332491"/>
                  <a:pt x="165121" y="356433"/>
                </a:cubicBezTo>
                <a:cubicBezTo>
                  <a:pt x="178033" y="375771"/>
                  <a:pt x="190022" y="394187"/>
                  <a:pt x="190022" y="418129"/>
                </a:cubicBezTo>
                <a:cubicBezTo>
                  <a:pt x="190022" y="428258"/>
                  <a:pt x="200166" y="437466"/>
                  <a:pt x="206622" y="442070"/>
                </a:cubicBezTo>
                <a:lnTo>
                  <a:pt x="315446" y="442070"/>
                </a:lnTo>
                <a:cubicBezTo>
                  <a:pt x="322824" y="436545"/>
                  <a:pt x="332046" y="428258"/>
                  <a:pt x="332046" y="418129"/>
                </a:cubicBezTo>
                <a:cubicBezTo>
                  <a:pt x="332046" y="394187"/>
                  <a:pt x="344957" y="375771"/>
                  <a:pt x="357869" y="357354"/>
                </a:cubicBezTo>
                <a:cubicBezTo>
                  <a:pt x="374469" y="332491"/>
                  <a:pt x="392914" y="305787"/>
                  <a:pt x="392914" y="258825"/>
                </a:cubicBezTo>
                <a:cubicBezTo>
                  <a:pt x="392914" y="189763"/>
                  <a:pt x="333891" y="133592"/>
                  <a:pt x="261034" y="133592"/>
                </a:cubicBezTo>
                <a:close/>
                <a:moveTo>
                  <a:pt x="472281" y="126151"/>
                </a:moveTo>
                <a:cubicBezTo>
                  <a:pt x="477818" y="123387"/>
                  <a:pt x="484278" y="125229"/>
                  <a:pt x="487969" y="130757"/>
                </a:cubicBezTo>
                <a:cubicBezTo>
                  <a:pt x="490737" y="135364"/>
                  <a:pt x="488891" y="142734"/>
                  <a:pt x="483355" y="145498"/>
                </a:cubicBezTo>
                <a:lnTo>
                  <a:pt x="454749" y="162081"/>
                </a:lnTo>
                <a:cubicBezTo>
                  <a:pt x="452903" y="163002"/>
                  <a:pt x="451057" y="163924"/>
                  <a:pt x="449212" y="163924"/>
                </a:cubicBezTo>
                <a:cubicBezTo>
                  <a:pt x="445521" y="163924"/>
                  <a:pt x="441830" y="162081"/>
                  <a:pt x="439984" y="158396"/>
                </a:cubicBezTo>
                <a:cubicBezTo>
                  <a:pt x="436293" y="152868"/>
                  <a:pt x="438139" y="146419"/>
                  <a:pt x="443675" y="142734"/>
                </a:cubicBezTo>
                <a:close/>
                <a:moveTo>
                  <a:pt x="49796" y="126151"/>
                </a:moveTo>
                <a:lnTo>
                  <a:pt x="79344" y="142734"/>
                </a:lnTo>
                <a:cubicBezTo>
                  <a:pt x="83961" y="146419"/>
                  <a:pt x="85808" y="152868"/>
                  <a:pt x="83038" y="158396"/>
                </a:cubicBezTo>
                <a:cubicBezTo>
                  <a:pt x="81191" y="162081"/>
                  <a:pt x="77498" y="163924"/>
                  <a:pt x="73804" y="163924"/>
                </a:cubicBezTo>
                <a:cubicBezTo>
                  <a:pt x="71957" y="163924"/>
                  <a:pt x="70111" y="163002"/>
                  <a:pt x="68264" y="162081"/>
                </a:cubicBezTo>
                <a:lnTo>
                  <a:pt x="38716" y="145498"/>
                </a:lnTo>
                <a:cubicBezTo>
                  <a:pt x="34099" y="142734"/>
                  <a:pt x="32252" y="135364"/>
                  <a:pt x="35022" y="130757"/>
                </a:cubicBezTo>
                <a:cubicBezTo>
                  <a:pt x="37792" y="125229"/>
                  <a:pt x="45179" y="123387"/>
                  <a:pt x="49796" y="126151"/>
                </a:cubicBezTo>
                <a:close/>
                <a:moveTo>
                  <a:pt x="261034" y="88472"/>
                </a:moveTo>
                <a:cubicBezTo>
                  <a:pt x="357869" y="88472"/>
                  <a:pt x="437181" y="164901"/>
                  <a:pt x="437181" y="258825"/>
                </a:cubicBezTo>
                <a:cubicBezTo>
                  <a:pt x="437181" y="319600"/>
                  <a:pt x="412281" y="355512"/>
                  <a:pt x="394758" y="382217"/>
                </a:cubicBezTo>
                <a:cubicBezTo>
                  <a:pt x="382769" y="398791"/>
                  <a:pt x="377236" y="408000"/>
                  <a:pt x="377236" y="418129"/>
                </a:cubicBezTo>
                <a:cubicBezTo>
                  <a:pt x="377236" y="440229"/>
                  <a:pt x="365247" y="460487"/>
                  <a:pt x="344035" y="476141"/>
                </a:cubicBezTo>
                <a:cubicBezTo>
                  <a:pt x="343113" y="489033"/>
                  <a:pt x="341268" y="521262"/>
                  <a:pt x="341268" y="521262"/>
                </a:cubicBezTo>
                <a:cubicBezTo>
                  <a:pt x="341268" y="529549"/>
                  <a:pt x="336657" y="548887"/>
                  <a:pt x="305301" y="559016"/>
                </a:cubicBezTo>
                <a:cubicBezTo>
                  <a:pt x="301612" y="564541"/>
                  <a:pt x="297001" y="569145"/>
                  <a:pt x="290545" y="573749"/>
                </a:cubicBezTo>
                <a:cubicBezTo>
                  <a:pt x="286856" y="575591"/>
                  <a:pt x="283168" y="577432"/>
                  <a:pt x="278556" y="577432"/>
                </a:cubicBezTo>
                <a:lnTo>
                  <a:pt x="244434" y="577432"/>
                </a:lnTo>
                <a:cubicBezTo>
                  <a:pt x="239822" y="577432"/>
                  <a:pt x="235211" y="575591"/>
                  <a:pt x="231522" y="573749"/>
                </a:cubicBezTo>
                <a:cubicBezTo>
                  <a:pt x="225989" y="569145"/>
                  <a:pt x="221378" y="564541"/>
                  <a:pt x="217689" y="559016"/>
                </a:cubicBezTo>
                <a:cubicBezTo>
                  <a:pt x="186333" y="548887"/>
                  <a:pt x="181722" y="530470"/>
                  <a:pt x="180799" y="521262"/>
                </a:cubicBezTo>
                <a:cubicBezTo>
                  <a:pt x="180799" y="521262"/>
                  <a:pt x="178955" y="489033"/>
                  <a:pt x="178955" y="476141"/>
                </a:cubicBezTo>
                <a:cubicBezTo>
                  <a:pt x="157743" y="460487"/>
                  <a:pt x="145754" y="440229"/>
                  <a:pt x="145754" y="418129"/>
                </a:cubicBezTo>
                <a:cubicBezTo>
                  <a:pt x="145754" y="408000"/>
                  <a:pt x="139299" y="398791"/>
                  <a:pt x="128232" y="382217"/>
                </a:cubicBezTo>
                <a:cubicBezTo>
                  <a:pt x="109787" y="355512"/>
                  <a:pt x="85809" y="319600"/>
                  <a:pt x="85809" y="258825"/>
                </a:cubicBezTo>
                <a:cubicBezTo>
                  <a:pt x="85809" y="164901"/>
                  <a:pt x="164199" y="88472"/>
                  <a:pt x="261034" y="88472"/>
                </a:cubicBezTo>
                <a:close/>
                <a:moveTo>
                  <a:pt x="392070" y="35016"/>
                </a:moveTo>
                <a:cubicBezTo>
                  <a:pt x="397608" y="37780"/>
                  <a:pt x="399454" y="45152"/>
                  <a:pt x="395762" y="49759"/>
                </a:cubicBezTo>
                <a:lnTo>
                  <a:pt x="379147" y="79244"/>
                </a:lnTo>
                <a:cubicBezTo>
                  <a:pt x="377301" y="82930"/>
                  <a:pt x="373609" y="84773"/>
                  <a:pt x="369917" y="84773"/>
                </a:cubicBezTo>
                <a:cubicBezTo>
                  <a:pt x="368071" y="84773"/>
                  <a:pt x="366224" y="83851"/>
                  <a:pt x="364378" y="82930"/>
                </a:cubicBezTo>
                <a:cubicBezTo>
                  <a:pt x="358840" y="80166"/>
                  <a:pt x="356994" y="72794"/>
                  <a:pt x="360686" y="68187"/>
                </a:cubicBezTo>
                <a:lnTo>
                  <a:pt x="377301" y="38702"/>
                </a:lnTo>
                <a:cubicBezTo>
                  <a:pt x="380070" y="34095"/>
                  <a:pt x="386531" y="32252"/>
                  <a:pt x="392070" y="35016"/>
                </a:cubicBezTo>
                <a:close/>
                <a:moveTo>
                  <a:pt x="131042" y="35016"/>
                </a:moveTo>
                <a:cubicBezTo>
                  <a:pt x="135641" y="32252"/>
                  <a:pt x="143000" y="34095"/>
                  <a:pt x="145759" y="38702"/>
                </a:cubicBezTo>
                <a:lnTo>
                  <a:pt x="162317" y="68187"/>
                </a:lnTo>
                <a:cubicBezTo>
                  <a:pt x="165996" y="72794"/>
                  <a:pt x="164156" y="80166"/>
                  <a:pt x="158637" y="82930"/>
                </a:cubicBezTo>
                <a:cubicBezTo>
                  <a:pt x="156798" y="83851"/>
                  <a:pt x="154958" y="84773"/>
                  <a:pt x="153118" y="84773"/>
                </a:cubicBezTo>
                <a:cubicBezTo>
                  <a:pt x="149439" y="84773"/>
                  <a:pt x="145759" y="82930"/>
                  <a:pt x="143000" y="79244"/>
                </a:cubicBezTo>
                <a:lnTo>
                  <a:pt x="126443" y="49759"/>
                </a:lnTo>
                <a:cubicBezTo>
                  <a:pt x="123683" y="45152"/>
                  <a:pt x="125523" y="37780"/>
                  <a:pt x="131042" y="35016"/>
                </a:cubicBezTo>
                <a:close/>
                <a:moveTo>
                  <a:pt x="261051" y="0"/>
                </a:moveTo>
                <a:cubicBezTo>
                  <a:pt x="267480" y="0"/>
                  <a:pt x="272073" y="4598"/>
                  <a:pt x="272073" y="11037"/>
                </a:cubicBezTo>
                <a:lnTo>
                  <a:pt x="272073" y="44147"/>
                </a:lnTo>
                <a:cubicBezTo>
                  <a:pt x="272073" y="50585"/>
                  <a:pt x="267480" y="55184"/>
                  <a:pt x="261051" y="55184"/>
                </a:cubicBezTo>
                <a:cubicBezTo>
                  <a:pt x="255540" y="55184"/>
                  <a:pt x="250029" y="50585"/>
                  <a:pt x="250029" y="44147"/>
                </a:cubicBezTo>
                <a:lnTo>
                  <a:pt x="250029" y="11037"/>
                </a:lnTo>
                <a:cubicBezTo>
                  <a:pt x="250029" y="4598"/>
                  <a:pt x="255540" y="0"/>
                  <a:pt x="261051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</p:sp>
      <p:cxnSp>
        <p:nvCxnSpPr>
          <p:cNvPr id="200" name="直接连接符 199"/>
          <p:cNvCxnSpPr/>
          <p:nvPr userDrawn="1"/>
        </p:nvCxnSpPr>
        <p:spPr>
          <a:xfrm>
            <a:off x="0" y="2212887"/>
            <a:ext cx="2093205" cy="0"/>
          </a:xfrm>
          <a:prstGeom prst="line">
            <a:avLst/>
          </a:prstGeom>
          <a:ln w="25400">
            <a:solidFill>
              <a:srgbClr val="FC6D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5495816" y="2560360"/>
            <a:ext cx="5540483" cy="1675273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5495816" y="4564827"/>
            <a:ext cx="5540483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5495816" y="4268556"/>
            <a:ext cx="554048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cxnSp>
        <p:nvCxnSpPr>
          <p:cNvPr id="202" name="直接连接符 201"/>
          <p:cNvCxnSpPr/>
          <p:nvPr userDrawn="1"/>
        </p:nvCxnSpPr>
        <p:spPr>
          <a:xfrm>
            <a:off x="5038904" y="2212887"/>
            <a:ext cx="7153096" cy="0"/>
          </a:xfrm>
          <a:prstGeom prst="line">
            <a:avLst/>
          </a:prstGeom>
          <a:ln w="25400">
            <a:solidFill>
              <a:srgbClr val="FC6D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www.islide.cc</a:t>
            </a:r>
            <a:endParaRPr lang="zh-CN" altLang="en-US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1.xml"/><Relationship Id="rId5" Type="http://schemas.openxmlformats.org/officeDocument/2006/relationships/themeOverride" Target="../theme/themeOverride1.xml"/><Relationship Id="rId4" Type="http://schemas.openxmlformats.org/officeDocument/2006/relationships/tags" Target="../tags/tag2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3" Type="http://schemas.openxmlformats.org/officeDocument/2006/relationships/image" Target="../media/image1.emf"/><Relationship Id="rId2" Type="http://schemas.openxmlformats.org/officeDocument/2006/relationships/oleObject" Target="../embeddings/oleObject2.bin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479099" y="3078105"/>
            <a:ext cx="6276566" cy="853593"/>
          </a:xfrm>
        </p:spPr>
        <p:txBody>
          <a:bodyPr>
            <a:noAutofit/>
          </a:bodyPr>
          <a:lstStyle/>
          <a:p>
            <a:pPr>
              <a:lnSpc>
                <a:spcPct val="110000"/>
              </a:lnSpc>
            </a:pPr>
            <a:r>
              <a:rPr lang="zh-CN" altLang="en-US" sz="4400" b="0">
                <a:solidFill>
                  <a:schemeClr val="bg1"/>
                </a:solidFill>
                <a:latin typeface="Impact" panose="020B0806030902050204" pitchFamily="34" charset="0"/>
              </a:rPr>
              <a:t>第四课   选取范围的方法</a:t>
            </a:r>
            <a:endParaRPr lang="zh-CN" altLang="en-US" sz="4400" b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îśḷíḍé"/>
          <p:cNvSpPr txBox="1"/>
          <p:nvPr/>
        </p:nvSpPr>
        <p:spPr>
          <a:xfrm>
            <a:off x="4536146" y="1095462"/>
            <a:ext cx="3119708" cy="710067"/>
          </a:xfrm>
          <a:prstGeom prst="rect">
            <a:avLst/>
          </a:prstGeom>
          <a:noFill/>
        </p:spPr>
        <p:txBody>
          <a:bodyPr wrap="none" lIns="90000" tIns="46800" rIns="90000" bIns="46800">
            <a:normAutofit fontScale="90000"/>
          </a:bodyPr>
          <a:lstStyle/>
          <a:p>
            <a:pPr algn="ctr"/>
            <a:r>
              <a:rPr lang="zh-CN" altLang="en-US" sz="4000" b="1">
                <a:solidFill>
                  <a:schemeClr val="tx2"/>
                </a:solidFill>
              </a:rPr>
              <a:t>学习目标</a:t>
            </a:r>
            <a:endParaRPr lang="zh-CN" altLang="en-US" sz="4000" b="1">
              <a:solidFill>
                <a:schemeClr val="tx2"/>
              </a:solidFill>
            </a:endParaRPr>
          </a:p>
        </p:txBody>
      </p:sp>
      <p:sp>
        <p:nvSpPr>
          <p:cNvPr id="22" name="íṩļídè"/>
          <p:cNvSpPr/>
          <p:nvPr/>
        </p:nvSpPr>
        <p:spPr bwMode="auto">
          <a:xfrm>
            <a:off x="3420024" y="2550051"/>
            <a:ext cx="1116124" cy="648072"/>
          </a:xfrm>
          <a:prstGeom prst="rect">
            <a:avLst/>
          </a:prstGeom>
          <a:solidFill>
            <a:schemeClr val="accent2">
              <a:lumMod val="100000"/>
            </a:schemeClr>
          </a:solidFill>
          <a:ln w="19050">
            <a:noFill/>
            <a:round/>
          </a:ln>
        </p:spPr>
        <p:txBody>
          <a:bodyPr rot="0" spcFirstLastPara="0" vert="horz" wrap="none" lIns="91440" tIns="45720" rIns="91440" bIns="45720" anchor="ctr" anchorCtr="1" forceAA="0" compatLnSpc="1">
            <a:normAutofit/>
          </a:bodyPr>
          <a:lstStyle/>
          <a:p>
            <a:pPr algn="ctr"/>
            <a:r>
              <a:rPr lang="en-US" altLang="zh-CN" sz="280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1</a:t>
            </a:r>
            <a:endParaRPr lang="en-US" altLang="zh-CN" sz="2800">
              <a:solidFill>
                <a:schemeClr val="bg1">
                  <a:lumMod val="100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24" name="ïśḻíḓê"/>
          <p:cNvSpPr txBox="1"/>
          <p:nvPr/>
        </p:nvSpPr>
        <p:spPr bwMode="auto">
          <a:xfrm>
            <a:off x="5666619" y="2680092"/>
            <a:ext cx="210806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/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sz="2400" b="1"/>
              <a:t>学会使用常用的范围选取工具</a:t>
            </a:r>
            <a:endParaRPr lang="zh-CN" altLang="en-US" sz="2400" b="1"/>
          </a:p>
        </p:txBody>
      </p:sp>
      <p:sp>
        <p:nvSpPr>
          <p:cNvPr id="2" name="íṧľïḋê"/>
          <p:cNvSpPr/>
          <p:nvPr/>
        </p:nvSpPr>
        <p:spPr bwMode="auto">
          <a:xfrm>
            <a:off x="3433793" y="3816308"/>
            <a:ext cx="1116124" cy="648072"/>
          </a:xfrm>
          <a:prstGeom prst="rect">
            <a:avLst/>
          </a:prstGeom>
          <a:solidFill>
            <a:schemeClr val="accent3">
              <a:lumMod val="100000"/>
            </a:schemeClr>
          </a:solidFill>
          <a:ln w="19050">
            <a:noFill/>
            <a:round/>
          </a:ln>
        </p:spPr>
        <p:txBody>
          <a:bodyPr rot="0" spcFirstLastPara="0" vert="horz" wrap="none" lIns="91440" tIns="45720" rIns="91440" bIns="45720" anchor="ctr" anchorCtr="1" forceAA="0" compatLnSpc="1">
            <a:normAutofit/>
          </a:bodyPr>
          <a:lstStyle/>
          <a:p>
            <a:pPr algn="ctr"/>
            <a:r>
              <a:rPr lang="en-US" altLang="zh-CN" sz="280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02</a:t>
            </a:r>
            <a:endParaRPr lang="en-US" altLang="zh-CN" sz="2800">
              <a:solidFill>
                <a:schemeClr val="bg1">
                  <a:lumMod val="100000"/>
                </a:schemeClr>
              </a:solidFill>
              <a:latin typeface="Impact" panose="020B0806030902050204" pitchFamily="34" charset="0"/>
            </a:endParaRPr>
          </a:p>
        </p:txBody>
      </p:sp>
      <p:sp>
        <p:nvSpPr>
          <p:cNvPr id="3" name="íṩľîḋe"/>
          <p:cNvSpPr txBox="1"/>
          <p:nvPr/>
        </p:nvSpPr>
        <p:spPr bwMode="auto">
          <a:xfrm>
            <a:off x="6297803" y="3947018"/>
            <a:ext cx="210806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/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zh-CN" altLang="en-US" sz="2400" b="1"/>
              <a:t>掌握规则和不规则范围选取的基本方法</a:t>
            </a:r>
            <a:endParaRPr lang="zh-CN" altLang="en-US" sz="2400" b="1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749747" y="3307583"/>
            <a:ext cx="4037453" cy="576223"/>
          </a:xfrm>
        </p:spPr>
        <p:txBody>
          <a:bodyPr>
            <a:normAutofit fontScale="90000"/>
          </a:bodyPr>
          <a:lstStyle/>
          <a:p>
            <a:r>
              <a:rPr lang="zh-CN" altLang="en-US" sz="3600">
                <a:solidFill>
                  <a:schemeClr val="accent3"/>
                </a:solidFill>
              </a:rPr>
              <a:t>常用范围选取工具</a:t>
            </a:r>
            <a:endParaRPr lang="zh-CN" altLang="en-US" sz="3600">
              <a:solidFill>
                <a:schemeClr val="accent3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479997" y="3148020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13971" y="4700478"/>
            <a:ext cx="9471552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10609243" y="4700478"/>
            <a:ext cx="1596728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常用范围选取工具</a:t>
            </a:r>
            <a:endParaRPr lang="zh-CN" altLang="en-US"/>
          </a:p>
        </p:txBody>
      </p:sp>
      <p:sp>
        <p:nvSpPr>
          <p:cNvPr id="28" name="îśľíḋé"/>
          <p:cNvSpPr/>
          <p:nvPr/>
        </p:nvSpPr>
        <p:spPr bwMode="auto">
          <a:xfrm>
            <a:off x="5420995" y="2394585"/>
            <a:ext cx="5267325" cy="252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indent="457200" algn="l" fontAlgn="auto">
              <a:lnSpc>
                <a:spcPct val="150000"/>
              </a:lnSpc>
            </a:pPr>
            <a:r>
              <a:rPr lang="en-US" altLang="zh-CN" sz="2400">
                <a:latin typeface="+mn-ea"/>
              </a:rPr>
              <a:t>Photoshop</a:t>
            </a:r>
            <a:r>
              <a:rPr lang="zh-CN" altLang="en-US" sz="2400">
                <a:latin typeface="+mn-ea"/>
              </a:rPr>
              <a:t>的工具栏提供的范围选择工具共有多种，包括选框工具、套索工具和魔棒工具。它们可以实现规则及不规则范围的选取。</a:t>
            </a:r>
            <a:endParaRPr lang="zh-CN" altLang="en-US" sz="3200">
              <a:latin typeface="+mn-ea"/>
            </a:endParaRPr>
          </a:p>
          <a:p>
            <a:pPr>
              <a:lnSpc>
                <a:spcPct val="150000"/>
              </a:lnSpc>
            </a:pPr>
            <a:endParaRPr lang="zh-CN" altLang="en-US" sz="3200">
              <a:latin typeface="+mn-ea"/>
            </a:endParaRPr>
          </a:p>
        </p:txBody>
      </p:sp>
      <p:cxnSp>
        <p:nvCxnSpPr>
          <p:cNvPr id="21" name="直接连接符 20"/>
          <p:cNvCxnSpPr/>
          <p:nvPr/>
        </p:nvCxnSpPr>
        <p:spPr>
          <a:xfrm>
            <a:off x="4675505" y="2423795"/>
            <a:ext cx="0" cy="291465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组合 174"/>
          <p:cNvGrpSpPr/>
          <p:nvPr/>
        </p:nvGrpSpPr>
        <p:grpSpPr>
          <a:xfrm>
            <a:off x="2065799" y="2455235"/>
            <a:ext cx="1656235" cy="2727643"/>
            <a:chOff x="1012403" y="2383621"/>
            <a:chExt cx="1656235" cy="2727643"/>
          </a:xfrm>
        </p:grpSpPr>
        <p:sp>
          <p:nvSpPr>
            <p:cNvPr id="5" name="Freeform 33"/>
            <p:cNvSpPr/>
            <p:nvPr/>
          </p:nvSpPr>
          <p:spPr bwMode="auto">
            <a:xfrm>
              <a:off x="1032331" y="2401465"/>
              <a:ext cx="1616382" cy="2028724"/>
            </a:xfrm>
            <a:custGeom>
              <a:avLst/>
              <a:gdLst>
                <a:gd name="T0" fmla="*/ 249 w 498"/>
                <a:gd name="T1" fmla="*/ 0 h 625"/>
                <a:gd name="T2" fmla="*/ 0 w 498"/>
                <a:gd name="T3" fmla="*/ 240 h 625"/>
                <a:gd name="T4" fmla="*/ 17 w 498"/>
                <a:gd name="T5" fmla="*/ 328 h 625"/>
                <a:gd name="T6" fmla="*/ 17 w 498"/>
                <a:gd name="T7" fmla="*/ 328 h 625"/>
                <a:gd name="T8" fmla="*/ 31 w 498"/>
                <a:gd name="T9" fmla="*/ 356 h 625"/>
                <a:gd name="T10" fmla="*/ 95 w 498"/>
                <a:gd name="T11" fmla="*/ 488 h 625"/>
                <a:gd name="T12" fmla="*/ 108 w 498"/>
                <a:gd name="T13" fmla="*/ 539 h 625"/>
                <a:gd name="T14" fmla="*/ 115 w 498"/>
                <a:gd name="T15" fmla="*/ 588 h 625"/>
                <a:gd name="T16" fmla="*/ 153 w 498"/>
                <a:gd name="T17" fmla="*/ 625 h 625"/>
                <a:gd name="T18" fmla="*/ 249 w 498"/>
                <a:gd name="T19" fmla="*/ 625 h 625"/>
                <a:gd name="T20" fmla="*/ 344 w 498"/>
                <a:gd name="T21" fmla="*/ 625 h 625"/>
                <a:gd name="T22" fmla="*/ 382 w 498"/>
                <a:gd name="T23" fmla="*/ 588 h 625"/>
                <a:gd name="T24" fmla="*/ 390 w 498"/>
                <a:gd name="T25" fmla="*/ 539 h 625"/>
                <a:gd name="T26" fmla="*/ 403 w 498"/>
                <a:gd name="T27" fmla="*/ 488 h 625"/>
                <a:gd name="T28" fmla="*/ 467 w 498"/>
                <a:gd name="T29" fmla="*/ 356 h 625"/>
                <a:gd name="T30" fmla="*/ 480 w 498"/>
                <a:gd name="T31" fmla="*/ 328 h 625"/>
                <a:gd name="T32" fmla="*/ 480 w 498"/>
                <a:gd name="T33" fmla="*/ 328 h 625"/>
                <a:gd name="T34" fmla="*/ 498 w 498"/>
                <a:gd name="T35" fmla="*/ 240 h 625"/>
                <a:gd name="T36" fmla="*/ 249 w 498"/>
                <a:gd name="T37" fmla="*/ 0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8" h="625">
                  <a:moveTo>
                    <a:pt x="249" y="0"/>
                  </a:moveTo>
                  <a:cubicBezTo>
                    <a:pt x="113" y="0"/>
                    <a:pt x="0" y="107"/>
                    <a:pt x="0" y="240"/>
                  </a:cubicBezTo>
                  <a:cubicBezTo>
                    <a:pt x="0" y="271"/>
                    <a:pt x="6" y="301"/>
                    <a:pt x="17" y="328"/>
                  </a:cubicBezTo>
                  <a:cubicBezTo>
                    <a:pt x="17" y="328"/>
                    <a:pt x="17" y="328"/>
                    <a:pt x="17" y="328"/>
                  </a:cubicBezTo>
                  <a:cubicBezTo>
                    <a:pt x="21" y="338"/>
                    <a:pt x="26" y="347"/>
                    <a:pt x="31" y="356"/>
                  </a:cubicBezTo>
                  <a:cubicBezTo>
                    <a:pt x="48" y="391"/>
                    <a:pt x="77" y="451"/>
                    <a:pt x="95" y="488"/>
                  </a:cubicBezTo>
                  <a:cubicBezTo>
                    <a:pt x="95" y="488"/>
                    <a:pt x="108" y="525"/>
                    <a:pt x="108" y="539"/>
                  </a:cubicBezTo>
                  <a:cubicBezTo>
                    <a:pt x="108" y="554"/>
                    <a:pt x="109" y="576"/>
                    <a:pt x="115" y="588"/>
                  </a:cubicBezTo>
                  <a:cubicBezTo>
                    <a:pt x="119" y="595"/>
                    <a:pt x="129" y="612"/>
                    <a:pt x="153" y="625"/>
                  </a:cubicBezTo>
                  <a:cubicBezTo>
                    <a:pt x="249" y="625"/>
                    <a:pt x="249" y="625"/>
                    <a:pt x="249" y="625"/>
                  </a:cubicBezTo>
                  <a:cubicBezTo>
                    <a:pt x="344" y="625"/>
                    <a:pt x="344" y="625"/>
                    <a:pt x="344" y="625"/>
                  </a:cubicBezTo>
                  <a:cubicBezTo>
                    <a:pt x="368" y="612"/>
                    <a:pt x="379" y="595"/>
                    <a:pt x="382" y="588"/>
                  </a:cubicBezTo>
                  <a:cubicBezTo>
                    <a:pt x="388" y="576"/>
                    <a:pt x="390" y="554"/>
                    <a:pt x="390" y="539"/>
                  </a:cubicBezTo>
                  <a:cubicBezTo>
                    <a:pt x="390" y="525"/>
                    <a:pt x="403" y="488"/>
                    <a:pt x="403" y="488"/>
                  </a:cubicBezTo>
                  <a:cubicBezTo>
                    <a:pt x="420" y="451"/>
                    <a:pt x="450" y="391"/>
                    <a:pt x="467" y="356"/>
                  </a:cubicBezTo>
                  <a:cubicBezTo>
                    <a:pt x="472" y="347"/>
                    <a:pt x="476" y="338"/>
                    <a:pt x="480" y="328"/>
                  </a:cubicBezTo>
                  <a:cubicBezTo>
                    <a:pt x="480" y="328"/>
                    <a:pt x="480" y="328"/>
                    <a:pt x="480" y="328"/>
                  </a:cubicBezTo>
                  <a:cubicBezTo>
                    <a:pt x="492" y="301"/>
                    <a:pt x="498" y="271"/>
                    <a:pt x="498" y="240"/>
                  </a:cubicBezTo>
                  <a:cubicBezTo>
                    <a:pt x="498" y="107"/>
                    <a:pt x="385" y="0"/>
                    <a:pt x="249" y="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sp>
          <p:nvSpPr>
            <p:cNvPr id="6" name="Freeform 33"/>
            <p:cNvSpPr/>
            <p:nvPr/>
          </p:nvSpPr>
          <p:spPr bwMode="auto">
            <a:xfrm>
              <a:off x="1073221" y="2452786"/>
              <a:ext cx="1534601" cy="1926082"/>
            </a:xfrm>
            <a:custGeom>
              <a:avLst/>
              <a:gdLst>
                <a:gd name="T0" fmla="*/ 249 w 498"/>
                <a:gd name="T1" fmla="*/ 0 h 625"/>
                <a:gd name="T2" fmla="*/ 0 w 498"/>
                <a:gd name="T3" fmla="*/ 240 h 625"/>
                <a:gd name="T4" fmla="*/ 17 w 498"/>
                <a:gd name="T5" fmla="*/ 328 h 625"/>
                <a:gd name="T6" fmla="*/ 17 w 498"/>
                <a:gd name="T7" fmla="*/ 328 h 625"/>
                <a:gd name="T8" fmla="*/ 31 w 498"/>
                <a:gd name="T9" fmla="*/ 356 h 625"/>
                <a:gd name="T10" fmla="*/ 95 w 498"/>
                <a:gd name="T11" fmla="*/ 488 h 625"/>
                <a:gd name="T12" fmla="*/ 108 w 498"/>
                <a:gd name="T13" fmla="*/ 539 h 625"/>
                <a:gd name="T14" fmla="*/ 115 w 498"/>
                <a:gd name="T15" fmla="*/ 588 h 625"/>
                <a:gd name="T16" fmla="*/ 153 w 498"/>
                <a:gd name="T17" fmla="*/ 625 h 625"/>
                <a:gd name="T18" fmla="*/ 249 w 498"/>
                <a:gd name="T19" fmla="*/ 625 h 625"/>
                <a:gd name="T20" fmla="*/ 344 w 498"/>
                <a:gd name="T21" fmla="*/ 625 h 625"/>
                <a:gd name="T22" fmla="*/ 382 w 498"/>
                <a:gd name="T23" fmla="*/ 588 h 625"/>
                <a:gd name="T24" fmla="*/ 390 w 498"/>
                <a:gd name="T25" fmla="*/ 539 h 625"/>
                <a:gd name="T26" fmla="*/ 403 w 498"/>
                <a:gd name="T27" fmla="*/ 488 h 625"/>
                <a:gd name="T28" fmla="*/ 467 w 498"/>
                <a:gd name="T29" fmla="*/ 356 h 625"/>
                <a:gd name="T30" fmla="*/ 480 w 498"/>
                <a:gd name="T31" fmla="*/ 328 h 625"/>
                <a:gd name="T32" fmla="*/ 480 w 498"/>
                <a:gd name="T33" fmla="*/ 328 h 625"/>
                <a:gd name="T34" fmla="*/ 498 w 498"/>
                <a:gd name="T35" fmla="*/ 240 h 625"/>
                <a:gd name="T36" fmla="*/ 249 w 498"/>
                <a:gd name="T37" fmla="*/ 0 h 6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98" h="625">
                  <a:moveTo>
                    <a:pt x="249" y="0"/>
                  </a:moveTo>
                  <a:cubicBezTo>
                    <a:pt x="113" y="0"/>
                    <a:pt x="0" y="107"/>
                    <a:pt x="0" y="240"/>
                  </a:cubicBezTo>
                  <a:cubicBezTo>
                    <a:pt x="0" y="271"/>
                    <a:pt x="6" y="301"/>
                    <a:pt x="17" y="328"/>
                  </a:cubicBezTo>
                  <a:cubicBezTo>
                    <a:pt x="17" y="328"/>
                    <a:pt x="17" y="328"/>
                    <a:pt x="17" y="328"/>
                  </a:cubicBezTo>
                  <a:cubicBezTo>
                    <a:pt x="21" y="338"/>
                    <a:pt x="26" y="347"/>
                    <a:pt x="31" y="356"/>
                  </a:cubicBezTo>
                  <a:cubicBezTo>
                    <a:pt x="48" y="391"/>
                    <a:pt x="77" y="451"/>
                    <a:pt x="95" y="488"/>
                  </a:cubicBezTo>
                  <a:cubicBezTo>
                    <a:pt x="95" y="488"/>
                    <a:pt x="108" y="525"/>
                    <a:pt x="108" y="539"/>
                  </a:cubicBezTo>
                  <a:cubicBezTo>
                    <a:pt x="108" y="554"/>
                    <a:pt x="109" y="576"/>
                    <a:pt x="115" y="588"/>
                  </a:cubicBezTo>
                  <a:cubicBezTo>
                    <a:pt x="119" y="595"/>
                    <a:pt x="129" y="612"/>
                    <a:pt x="153" y="625"/>
                  </a:cubicBezTo>
                  <a:cubicBezTo>
                    <a:pt x="249" y="625"/>
                    <a:pt x="249" y="625"/>
                    <a:pt x="249" y="625"/>
                  </a:cubicBezTo>
                  <a:cubicBezTo>
                    <a:pt x="344" y="625"/>
                    <a:pt x="344" y="625"/>
                    <a:pt x="344" y="625"/>
                  </a:cubicBezTo>
                  <a:cubicBezTo>
                    <a:pt x="368" y="612"/>
                    <a:pt x="379" y="595"/>
                    <a:pt x="382" y="588"/>
                  </a:cubicBezTo>
                  <a:cubicBezTo>
                    <a:pt x="388" y="576"/>
                    <a:pt x="390" y="554"/>
                    <a:pt x="390" y="539"/>
                  </a:cubicBezTo>
                  <a:cubicBezTo>
                    <a:pt x="390" y="525"/>
                    <a:pt x="403" y="488"/>
                    <a:pt x="403" y="488"/>
                  </a:cubicBezTo>
                  <a:cubicBezTo>
                    <a:pt x="420" y="451"/>
                    <a:pt x="450" y="391"/>
                    <a:pt x="467" y="356"/>
                  </a:cubicBezTo>
                  <a:cubicBezTo>
                    <a:pt x="472" y="347"/>
                    <a:pt x="476" y="338"/>
                    <a:pt x="480" y="328"/>
                  </a:cubicBezTo>
                  <a:cubicBezTo>
                    <a:pt x="480" y="328"/>
                    <a:pt x="480" y="328"/>
                    <a:pt x="480" y="328"/>
                  </a:cubicBezTo>
                  <a:cubicBezTo>
                    <a:pt x="492" y="301"/>
                    <a:pt x="498" y="271"/>
                    <a:pt x="498" y="240"/>
                  </a:cubicBezTo>
                  <a:cubicBezTo>
                    <a:pt x="498" y="107"/>
                    <a:pt x="385" y="0"/>
                    <a:pt x="249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p>
              <a:endParaRPr lang="zh-CN" altLang="en-US"/>
            </a:p>
          </p:txBody>
        </p:sp>
        <p:grpSp>
          <p:nvGrpSpPr>
            <p:cNvPr id="7" name="组合 6"/>
            <p:cNvGrpSpPr/>
            <p:nvPr/>
          </p:nvGrpSpPr>
          <p:grpSpPr>
            <a:xfrm>
              <a:off x="1485219" y="4410281"/>
              <a:ext cx="716912" cy="700983"/>
              <a:chOff x="3759201" y="3508375"/>
              <a:chExt cx="828024" cy="809626"/>
            </a:xfrm>
          </p:grpSpPr>
          <p:sp>
            <p:nvSpPr>
              <p:cNvPr id="8" name="Freeform 6"/>
              <p:cNvSpPr/>
              <p:nvPr/>
            </p:nvSpPr>
            <p:spPr bwMode="auto">
              <a:xfrm>
                <a:off x="3764900" y="3508375"/>
                <a:ext cx="822325" cy="757238"/>
              </a:xfrm>
              <a:custGeom>
                <a:avLst/>
                <a:gdLst>
                  <a:gd name="T0" fmla="*/ 216 w 220"/>
                  <a:gd name="T1" fmla="*/ 0 h 202"/>
                  <a:gd name="T2" fmla="*/ 213 w 220"/>
                  <a:gd name="T3" fmla="*/ 3 h 202"/>
                  <a:gd name="T4" fmla="*/ 213 w 220"/>
                  <a:gd name="T5" fmla="*/ 14 h 202"/>
                  <a:gd name="T6" fmla="*/ 211 w 220"/>
                  <a:gd name="T7" fmla="*/ 16 h 202"/>
                  <a:gd name="T8" fmla="*/ 218 w 220"/>
                  <a:gd name="T9" fmla="*/ 24 h 202"/>
                  <a:gd name="T10" fmla="*/ 217 w 220"/>
                  <a:gd name="T11" fmla="*/ 35 h 202"/>
                  <a:gd name="T12" fmla="*/ 210 w 220"/>
                  <a:gd name="T13" fmla="*/ 42 h 202"/>
                  <a:gd name="T14" fmla="*/ 209 w 220"/>
                  <a:gd name="T15" fmla="*/ 48 h 202"/>
                  <a:gd name="T16" fmla="*/ 217 w 220"/>
                  <a:gd name="T17" fmla="*/ 55 h 202"/>
                  <a:gd name="T18" fmla="*/ 216 w 220"/>
                  <a:gd name="T19" fmla="*/ 66 h 202"/>
                  <a:gd name="T20" fmla="*/ 210 w 220"/>
                  <a:gd name="T21" fmla="*/ 71 h 202"/>
                  <a:gd name="T22" fmla="*/ 210 w 220"/>
                  <a:gd name="T23" fmla="*/ 80 h 202"/>
                  <a:gd name="T24" fmla="*/ 218 w 220"/>
                  <a:gd name="T25" fmla="*/ 89 h 202"/>
                  <a:gd name="T26" fmla="*/ 214 w 220"/>
                  <a:gd name="T27" fmla="*/ 97 h 202"/>
                  <a:gd name="T28" fmla="*/ 209 w 220"/>
                  <a:gd name="T29" fmla="*/ 102 h 202"/>
                  <a:gd name="T30" fmla="*/ 210 w 220"/>
                  <a:gd name="T31" fmla="*/ 108 h 202"/>
                  <a:gd name="T32" fmla="*/ 217 w 220"/>
                  <a:gd name="T33" fmla="*/ 116 h 202"/>
                  <a:gd name="T34" fmla="*/ 215 w 220"/>
                  <a:gd name="T35" fmla="*/ 125 h 202"/>
                  <a:gd name="T36" fmla="*/ 209 w 220"/>
                  <a:gd name="T37" fmla="*/ 131 h 202"/>
                  <a:gd name="T38" fmla="*/ 209 w 220"/>
                  <a:gd name="T39" fmla="*/ 138 h 202"/>
                  <a:gd name="T40" fmla="*/ 214 w 220"/>
                  <a:gd name="T41" fmla="*/ 145 h 202"/>
                  <a:gd name="T42" fmla="*/ 206 w 220"/>
                  <a:gd name="T43" fmla="*/ 161 h 202"/>
                  <a:gd name="T44" fmla="*/ 159 w 220"/>
                  <a:gd name="T45" fmla="*/ 202 h 202"/>
                  <a:gd name="T46" fmla="*/ 61 w 220"/>
                  <a:gd name="T47" fmla="*/ 202 h 202"/>
                  <a:gd name="T48" fmla="*/ 13 w 220"/>
                  <a:gd name="T49" fmla="*/ 161 h 202"/>
                  <a:gd name="T50" fmla="*/ 12 w 220"/>
                  <a:gd name="T51" fmla="*/ 152 h 202"/>
                  <a:gd name="T52" fmla="*/ 9 w 220"/>
                  <a:gd name="T53" fmla="*/ 142 h 202"/>
                  <a:gd name="T54" fmla="*/ 2 w 220"/>
                  <a:gd name="T55" fmla="*/ 135 h 202"/>
                  <a:gd name="T56" fmla="*/ 5 w 220"/>
                  <a:gd name="T57" fmla="*/ 126 h 202"/>
                  <a:gd name="T58" fmla="*/ 8 w 220"/>
                  <a:gd name="T59" fmla="*/ 119 h 202"/>
                  <a:gd name="T60" fmla="*/ 4 w 220"/>
                  <a:gd name="T61" fmla="*/ 108 h 202"/>
                  <a:gd name="T62" fmla="*/ 3 w 220"/>
                  <a:gd name="T63" fmla="*/ 97 h 202"/>
                  <a:gd name="T64" fmla="*/ 8 w 220"/>
                  <a:gd name="T65" fmla="*/ 91 h 202"/>
                  <a:gd name="T66" fmla="*/ 8 w 220"/>
                  <a:gd name="T67" fmla="*/ 85 h 202"/>
                  <a:gd name="T68" fmla="*/ 2 w 220"/>
                  <a:gd name="T69" fmla="*/ 76 h 202"/>
                  <a:gd name="T70" fmla="*/ 5 w 220"/>
                  <a:gd name="T71" fmla="*/ 66 h 202"/>
                  <a:gd name="T72" fmla="*/ 9 w 220"/>
                  <a:gd name="T73" fmla="*/ 61 h 202"/>
                  <a:gd name="T74" fmla="*/ 8 w 220"/>
                  <a:gd name="T75" fmla="*/ 54 h 202"/>
                  <a:gd name="T76" fmla="*/ 2 w 220"/>
                  <a:gd name="T77" fmla="*/ 44 h 202"/>
                  <a:gd name="T78" fmla="*/ 2 w 220"/>
                  <a:gd name="T79" fmla="*/ 16 h 202"/>
                  <a:gd name="T80" fmla="*/ 2 w 220"/>
                  <a:gd name="T81" fmla="*/ 11 h 202"/>
                  <a:gd name="T82" fmla="*/ 2 w 220"/>
                  <a:gd name="T83" fmla="*/ 1 h 202"/>
                  <a:gd name="T84" fmla="*/ 0 w 220"/>
                  <a:gd name="T85" fmla="*/ 0 h 202"/>
                  <a:gd name="T86" fmla="*/ 216 w 220"/>
                  <a:gd name="T87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20" h="202">
                    <a:moveTo>
                      <a:pt x="216" y="0"/>
                    </a:moveTo>
                    <a:cubicBezTo>
                      <a:pt x="213" y="3"/>
                      <a:pt x="213" y="3"/>
                      <a:pt x="213" y="3"/>
                    </a:cubicBezTo>
                    <a:cubicBezTo>
                      <a:pt x="213" y="14"/>
                      <a:pt x="213" y="14"/>
                      <a:pt x="213" y="14"/>
                    </a:cubicBezTo>
                    <a:cubicBezTo>
                      <a:pt x="211" y="16"/>
                      <a:pt x="211" y="16"/>
                      <a:pt x="211" y="16"/>
                    </a:cubicBezTo>
                    <a:cubicBezTo>
                      <a:pt x="211" y="16"/>
                      <a:pt x="216" y="20"/>
                      <a:pt x="218" y="24"/>
                    </a:cubicBezTo>
                    <a:cubicBezTo>
                      <a:pt x="220" y="28"/>
                      <a:pt x="220" y="33"/>
                      <a:pt x="217" y="35"/>
                    </a:cubicBezTo>
                    <a:cubicBezTo>
                      <a:pt x="214" y="38"/>
                      <a:pt x="210" y="39"/>
                      <a:pt x="210" y="42"/>
                    </a:cubicBezTo>
                    <a:cubicBezTo>
                      <a:pt x="210" y="44"/>
                      <a:pt x="209" y="48"/>
                      <a:pt x="209" y="48"/>
                    </a:cubicBezTo>
                    <a:cubicBezTo>
                      <a:pt x="209" y="48"/>
                      <a:pt x="216" y="51"/>
                      <a:pt x="217" y="55"/>
                    </a:cubicBezTo>
                    <a:cubicBezTo>
                      <a:pt x="219" y="60"/>
                      <a:pt x="218" y="64"/>
                      <a:pt x="216" y="66"/>
                    </a:cubicBezTo>
                    <a:cubicBezTo>
                      <a:pt x="213" y="67"/>
                      <a:pt x="210" y="71"/>
                      <a:pt x="210" y="71"/>
                    </a:cubicBezTo>
                    <a:cubicBezTo>
                      <a:pt x="210" y="80"/>
                      <a:pt x="210" y="80"/>
                      <a:pt x="210" y="80"/>
                    </a:cubicBezTo>
                    <a:cubicBezTo>
                      <a:pt x="210" y="80"/>
                      <a:pt x="218" y="85"/>
                      <a:pt x="218" y="89"/>
                    </a:cubicBezTo>
                    <a:cubicBezTo>
                      <a:pt x="218" y="94"/>
                      <a:pt x="214" y="97"/>
                      <a:pt x="214" y="97"/>
                    </a:cubicBezTo>
                    <a:cubicBezTo>
                      <a:pt x="209" y="102"/>
                      <a:pt x="209" y="102"/>
                      <a:pt x="209" y="102"/>
                    </a:cubicBezTo>
                    <a:cubicBezTo>
                      <a:pt x="210" y="108"/>
                      <a:pt x="210" y="108"/>
                      <a:pt x="210" y="108"/>
                    </a:cubicBezTo>
                    <a:cubicBezTo>
                      <a:pt x="210" y="108"/>
                      <a:pt x="216" y="112"/>
                      <a:pt x="217" y="116"/>
                    </a:cubicBezTo>
                    <a:cubicBezTo>
                      <a:pt x="218" y="120"/>
                      <a:pt x="217" y="123"/>
                      <a:pt x="215" y="125"/>
                    </a:cubicBezTo>
                    <a:cubicBezTo>
                      <a:pt x="213" y="127"/>
                      <a:pt x="209" y="131"/>
                      <a:pt x="209" y="131"/>
                    </a:cubicBezTo>
                    <a:cubicBezTo>
                      <a:pt x="209" y="138"/>
                      <a:pt x="209" y="138"/>
                      <a:pt x="209" y="138"/>
                    </a:cubicBezTo>
                    <a:cubicBezTo>
                      <a:pt x="209" y="138"/>
                      <a:pt x="213" y="141"/>
                      <a:pt x="214" y="145"/>
                    </a:cubicBezTo>
                    <a:cubicBezTo>
                      <a:pt x="214" y="148"/>
                      <a:pt x="209" y="158"/>
                      <a:pt x="206" y="161"/>
                    </a:cubicBezTo>
                    <a:cubicBezTo>
                      <a:pt x="203" y="163"/>
                      <a:pt x="159" y="202"/>
                      <a:pt x="159" y="202"/>
                    </a:cubicBezTo>
                    <a:cubicBezTo>
                      <a:pt x="61" y="202"/>
                      <a:pt x="61" y="202"/>
                      <a:pt x="61" y="202"/>
                    </a:cubicBezTo>
                    <a:cubicBezTo>
                      <a:pt x="13" y="161"/>
                      <a:pt x="13" y="161"/>
                      <a:pt x="13" y="161"/>
                    </a:cubicBezTo>
                    <a:cubicBezTo>
                      <a:pt x="13" y="161"/>
                      <a:pt x="12" y="155"/>
                      <a:pt x="12" y="152"/>
                    </a:cubicBezTo>
                    <a:cubicBezTo>
                      <a:pt x="11" y="149"/>
                      <a:pt x="12" y="144"/>
                      <a:pt x="9" y="142"/>
                    </a:cubicBezTo>
                    <a:cubicBezTo>
                      <a:pt x="7" y="140"/>
                      <a:pt x="2" y="139"/>
                      <a:pt x="2" y="135"/>
                    </a:cubicBezTo>
                    <a:cubicBezTo>
                      <a:pt x="2" y="130"/>
                      <a:pt x="3" y="127"/>
                      <a:pt x="5" y="126"/>
                    </a:cubicBezTo>
                    <a:cubicBezTo>
                      <a:pt x="7" y="125"/>
                      <a:pt x="9" y="122"/>
                      <a:pt x="8" y="119"/>
                    </a:cubicBezTo>
                    <a:cubicBezTo>
                      <a:pt x="8" y="116"/>
                      <a:pt x="6" y="112"/>
                      <a:pt x="4" y="108"/>
                    </a:cubicBezTo>
                    <a:cubicBezTo>
                      <a:pt x="2" y="104"/>
                      <a:pt x="2" y="100"/>
                      <a:pt x="3" y="97"/>
                    </a:cubicBezTo>
                    <a:cubicBezTo>
                      <a:pt x="5" y="94"/>
                      <a:pt x="8" y="91"/>
                      <a:pt x="8" y="91"/>
                    </a:cubicBezTo>
                    <a:cubicBezTo>
                      <a:pt x="8" y="85"/>
                      <a:pt x="8" y="85"/>
                      <a:pt x="8" y="85"/>
                    </a:cubicBezTo>
                    <a:cubicBezTo>
                      <a:pt x="8" y="85"/>
                      <a:pt x="2" y="81"/>
                      <a:pt x="2" y="76"/>
                    </a:cubicBezTo>
                    <a:cubicBezTo>
                      <a:pt x="2" y="70"/>
                      <a:pt x="3" y="67"/>
                      <a:pt x="5" y="66"/>
                    </a:cubicBezTo>
                    <a:cubicBezTo>
                      <a:pt x="7" y="64"/>
                      <a:pt x="9" y="61"/>
                      <a:pt x="9" y="61"/>
                    </a:cubicBezTo>
                    <a:cubicBezTo>
                      <a:pt x="9" y="61"/>
                      <a:pt x="10" y="57"/>
                      <a:pt x="8" y="54"/>
                    </a:cubicBezTo>
                    <a:cubicBezTo>
                      <a:pt x="7" y="52"/>
                      <a:pt x="3" y="48"/>
                      <a:pt x="2" y="44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2" y="16"/>
                      <a:pt x="2" y="14"/>
                      <a:pt x="2" y="11"/>
                    </a:cubicBezTo>
                    <a:cubicBezTo>
                      <a:pt x="2" y="8"/>
                      <a:pt x="2" y="1"/>
                      <a:pt x="2" y="1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16" y="0"/>
                    </a:lnTo>
                    <a:close/>
                  </a:path>
                </a:pathLst>
              </a:custGeom>
              <a:solidFill>
                <a:srgbClr val="3032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3" name="Freeform 7"/>
              <p:cNvSpPr/>
              <p:nvPr/>
            </p:nvSpPr>
            <p:spPr bwMode="auto">
              <a:xfrm>
                <a:off x="3996676" y="4268788"/>
                <a:ext cx="350838" cy="49213"/>
              </a:xfrm>
              <a:custGeom>
                <a:avLst/>
                <a:gdLst>
                  <a:gd name="T0" fmla="*/ 0 w 94"/>
                  <a:gd name="T1" fmla="*/ 0 h 13"/>
                  <a:gd name="T2" fmla="*/ 94 w 94"/>
                  <a:gd name="T3" fmla="*/ 0 h 13"/>
                  <a:gd name="T4" fmla="*/ 85 w 94"/>
                  <a:gd name="T5" fmla="*/ 9 h 13"/>
                  <a:gd name="T6" fmla="*/ 74 w 94"/>
                  <a:gd name="T7" fmla="*/ 13 h 13"/>
                  <a:gd name="T8" fmla="*/ 19 w 94"/>
                  <a:gd name="T9" fmla="*/ 13 h 13"/>
                  <a:gd name="T10" fmla="*/ 8 w 94"/>
                  <a:gd name="T11" fmla="*/ 9 h 13"/>
                  <a:gd name="T12" fmla="*/ 0 w 94"/>
                  <a:gd name="T1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4" h="13">
                    <a:moveTo>
                      <a:pt x="0" y="0"/>
                    </a:moveTo>
                    <a:cubicBezTo>
                      <a:pt x="94" y="0"/>
                      <a:pt x="94" y="0"/>
                      <a:pt x="94" y="0"/>
                    </a:cubicBezTo>
                    <a:cubicBezTo>
                      <a:pt x="94" y="0"/>
                      <a:pt x="88" y="6"/>
                      <a:pt x="85" y="9"/>
                    </a:cubicBezTo>
                    <a:cubicBezTo>
                      <a:pt x="82" y="11"/>
                      <a:pt x="77" y="13"/>
                      <a:pt x="74" y="13"/>
                    </a:cubicBezTo>
                    <a:cubicBezTo>
                      <a:pt x="71" y="13"/>
                      <a:pt x="19" y="13"/>
                      <a:pt x="19" y="13"/>
                    </a:cubicBezTo>
                    <a:cubicBezTo>
                      <a:pt x="19" y="13"/>
                      <a:pt x="11" y="13"/>
                      <a:pt x="8" y="9"/>
                    </a:cubicBezTo>
                    <a:cubicBezTo>
                      <a:pt x="5" y="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3936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4" name="Freeform 8"/>
              <p:cNvSpPr/>
              <p:nvPr/>
            </p:nvSpPr>
            <p:spPr bwMode="auto">
              <a:xfrm>
                <a:off x="4173538" y="3527425"/>
                <a:ext cx="247650" cy="33338"/>
              </a:xfrm>
              <a:custGeom>
                <a:avLst/>
                <a:gdLst>
                  <a:gd name="T0" fmla="*/ 4 w 66"/>
                  <a:gd name="T1" fmla="*/ 1 h 9"/>
                  <a:gd name="T2" fmla="*/ 64 w 66"/>
                  <a:gd name="T3" fmla="*/ 1 h 9"/>
                  <a:gd name="T4" fmla="*/ 62 w 66"/>
                  <a:gd name="T5" fmla="*/ 7 h 9"/>
                  <a:gd name="T6" fmla="*/ 0 w 66"/>
                  <a:gd name="T7" fmla="*/ 9 h 9"/>
                  <a:gd name="T8" fmla="*/ 20 w 66"/>
                  <a:gd name="T9" fmla="*/ 5 h 9"/>
                  <a:gd name="T10" fmla="*/ 17 w 66"/>
                  <a:gd name="T11" fmla="*/ 3 h 9"/>
                  <a:gd name="T12" fmla="*/ 4 w 66"/>
                  <a:gd name="T13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" h="9">
                    <a:moveTo>
                      <a:pt x="4" y="1"/>
                    </a:moveTo>
                    <a:cubicBezTo>
                      <a:pt x="4" y="1"/>
                      <a:pt x="62" y="0"/>
                      <a:pt x="64" y="1"/>
                    </a:cubicBezTo>
                    <a:cubicBezTo>
                      <a:pt x="66" y="3"/>
                      <a:pt x="66" y="5"/>
                      <a:pt x="62" y="7"/>
                    </a:cubicBezTo>
                    <a:cubicBezTo>
                      <a:pt x="58" y="8"/>
                      <a:pt x="0" y="9"/>
                      <a:pt x="0" y="9"/>
                    </a:cubicBezTo>
                    <a:cubicBezTo>
                      <a:pt x="0" y="9"/>
                      <a:pt x="20" y="7"/>
                      <a:pt x="20" y="5"/>
                    </a:cubicBezTo>
                    <a:cubicBezTo>
                      <a:pt x="20" y="3"/>
                      <a:pt x="21" y="4"/>
                      <a:pt x="17" y="3"/>
                    </a:cubicBezTo>
                    <a:cubicBezTo>
                      <a:pt x="13" y="3"/>
                      <a:pt x="4" y="1"/>
                      <a:pt x="4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1" name="Freeform 9"/>
              <p:cNvSpPr/>
              <p:nvPr/>
            </p:nvSpPr>
            <p:spPr bwMode="auto">
              <a:xfrm>
                <a:off x="4173538" y="3571875"/>
                <a:ext cx="242888" cy="93663"/>
              </a:xfrm>
              <a:custGeom>
                <a:avLst/>
                <a:gdLst>
                  <a:gd name="T0" fmla="*/ 11 w 65"/>
                  <a:gd name="T1" fmla="*/ 0 h 25"/>
                  <a:gd name="T2" fmla="*/ 60 w 65"/>
                  <a:gd name="T3" fmla="*/ 1 h 25"/>
                  <a:gd name="T4" fmla="*/ 65 w 65"/>
                  <a:gd name="T5" fmla="*/ 10 h 25"/>
                  <a:gd name="T6" fmla="*/ 57 w 65"/>
                  <a:gd name="T7" fmla="*/ 21 h 25"/>
                  <a:gd name="T8" fmla="*/ 0 w 65"/>
                  <a:gd name="T9" fmla="*/ 25 h 25"/>
                  <a:gd name="T10" fmla="*/ 21 w 65"/>
                  <a:gd name="T11" fmla="*/ 20 h 25"/>
                  <a:gd name="T12" fmla="*/ 22 w 65"/>
                  <a:gd name="T13" fmla="*/ 12 h 25"/>
                  <a:gd name="T14" fmla="*/ 23 w 65"/>
                  <a:gd name="T15" fmla="*/ 6 h 25"/>
                  <a:gd name="T16" fmla="*/ 23 w 65"/>
                  <a:gd name="T17" fmla="*/ 3 h 25"/>
                  <a:gd name="T18" fmla="*/ 11 w 65"/>
                  <a:gd name="T1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5" h="25">
                    <a:moveTo>
                      <a:pt x="11" y="0"/>
                    </a:moveTo>
                    <a:cubicBezTo>
                      <a:pt x="11" y="0"/>
                      <a:pt x="58" y="0"/>
                      <a:pt x="60" y="1"/>
                    </a:cubicBezTo>
                    <a:cubicBezTo>
                      <a:pt x="63" y="2"/>
                      <a:pt x="65" y="7"/>
                      <a:pt x="65" y="10"/>
                    </a:cubicBezTo>
                    <a:cubicBezTo>
                      <a:pt x="65" y="14"/>
                      <a:pt x="65" y="19"/>
                      <a:pt x="57" y="21"/>
                    </a:cubicBezTo>
                    <a:cubicBezTo>
                      <a:pt x="49" y="23"/>
                      <a:pt x="0" y="25"/>
                      <a:pt x="0" y="25"/>
                    </a:cubicBezTo>
                    <a:cubicBezTo>
                      <a:pt x="0" y="25"/>
                      <a:pt x="20" y="22"/>
                      <a:pt x="21" y="20"/>
                    </a:cubicBezTo>
                    <a:cubicBezTo>
                      <a:pt x="23" y="18"/>
                      <a:pt x="21" y="14"/>
                      <a:pt x="22" y="12"/>
                    </a:cubicBezTo>
                    <a:cubicBezTo>
                      <a:pt x="23" y="10"/>
                      <a:pt x="24" y="10"/>
                      <a:pt x="23" y="6"/>
                    </a:cubicBezTo>
                    <a:cubicBezTo>
                      <a:pt x="23" y="3"/>
                      <a:pt x="23" y="3"/>
                      <a:pt x="23" y="3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4" name="Freeform 10"/>
              <p:cNvSpPr/>
              <p:nvPr/>
            </p:nvSpPr>
            <p:spPr bwMode="auto">
              <a:xfrm>
                <a:off x="4106863" y="3698875"/>
                <a:ext cx="303213" cy="34925"/>
              </a:xfrm>
              <a:custGeom>
                <a:avLst/>
                <a:gdLst>
                  <a:gd name="T0" fmla="*/ 20 w 81"/>
                  <a:gd name="T1" fmla="*/ 1 h 9"/>
                  <a:gd name="T2" fmla="*/ 73 w 81"/>
                  <a:gd name="T3" fmla="*/ 0 h 9"/>
                  <a:gd name="T4" fmla="*/ 80 w 81"/>
                  <a:gd name="T5" fmla="*/ 3 h 9"/>
                  <a:gd name="T6" fmla="*/ 3 w 81"/>
                  <a:gd name="T7" fmla="*/ 9 h 9"/>
                  <a:gd name="T8" fmla="*/ 24 w 81"/>
                  <a:gd name="T9" fmla="*/ 5 h 9"/>
                  <a:gd name="T10" fmla="*/ 20 w 81"/>
                  <a:gd name="T11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1" h="9">
                    <a:moveTo>
                      <a:pt x="20" y="1"/>
                    </a:moveTo>
                    <a:cubicBezTo>
                      <a:pt x="20" y="1"/>
                      <a:pt x="66" y="0"/>
                      <a:pt x="73" y="0"/>
                    </a:cubicBezTo>
                    <a:cubicBezTo>
                      <a:pt x="81" y="0"/>
                      <a:pt x="81" y="3"/>
                      <a:pt x="80" y="3"/>
                    </a:cubicBezTo>
                    <a:cubicBezTo>
                      <a:pt x="78" y="4"/>
                      <a:pt x="5" y="9"/>
                      <a:pt x="3" y="9"/>
                    </a:cubicBezTo>
                    <a:cubicBezTo>
                      <a:pt x="0" y="9"/>
                      <a:pt x="21" y="6"/>
                      <a:pt x="24" y="5"/>
                    </a:cubicBezTo>
                    <a:cubicBezTo>
                      <a:pt x="27" y="4"/>
                      <a:pt x="26" y="2"/>
                      <a:pt x="2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7" name="Freeform 11"/>
              <p:cNvSpPr/>
              <p:nvPr/>
            </p:nvSpPr>
            <p:spPr bwMode="auto">
              <a:xfrm>
                <a:off x="4140201" y="3756025"/>
                <a:ext cx="269875" cy="25400"/>
              </a:xfrm>
              <a:custGeom>
                <a:avLst/>
                <a:gdLst>
                  <a:gd name="T0" fmla="*/ 26 w 72"/>
                  <a:gd name="T1" fmla="*/ 1 h 7"/>
                  <a:gd name="T2" fmla="*/ 72 w 72"/>
                  <a:gd name="T3" fmla="*/ 0 h 7"/>
                  <a:gd name="T4" fmla="*/ 49 w 72"/>
                  <a:gd name="T5" fmla="*/ 5 h 7"/>
                  <a:gd name="T6" fmla="*/ 4 w 72"/>
                  <a:gd name="T7" fmla="*/ 7 h 7"/>
                  <a:gd name="T8" fmla="*/ 26 w 72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7">
                    <a:moveTo>
                      <a:pt x="26" y="1"/>
                    </a:moveTo>
                    <a:cubicBezTo>
                      <a:pt x="72" y="0"/>
                      <a:pt x="72" y="0"/>
                      <a:pt x="72" y="0"/>
                    </a:cubicBezTo>
                    <a:cubicBezTo>
                      <a:pt x="72" y="0"/>
                      <a:pt x="51" y="5"/>
                      <a:pt x="49" y="5"/>
                    </a:cubicBezTo>
                    <a:cubicBezTo>
                      <a:pt x="47" y="5"/>
                      <a:pt x="9" y="7"/>
                      <a:pt x="4" y="7"/>
                    </a:cubicBezTo>
                    <a:cubicBezTo>
                      <a:pt x="0" y="7"/>
                      <a:pt x="35" y="3"/>
                      <a:pt x="2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32" name="Freeform 12"/>
              <p:cNvSpPr/>
              <p:nvPr/>
            </p:nvSpPr>
            <p:spPr bwMode="auto">
              <a:xfrm>
                <a:off x="4125913" y="3811588"/>
                <a:ext cx="287338" cy="38100"/>
              </a:xfrm>
              <a:custGeom>
                <a:avLst/>
                <a:gdLst>
                  <a:gd name="T0" fmla="*/ 15 w 77"/>
                  <a:gd name="T1" fmla="*/ 2 h 10"/>
                  <a:gd name="T2" fmla="*/ 73 w 77"/>
                  <a:gd name="T3" fmla="*/ 0 h 10"/>
                  <a:gd name="T4" fmla="*/ 72 w 77"/>
                  <a:gd name="T5" fmla="*/ 5 h 10"/>
                  <a:gd name="T6" fmla="*/ 0 w 77"/>
                  <a:gd name="T7" fmla="*/ 10 h 10"/>
                  <a:gd name="T8" fmla="*/ 31 w 77"/>
                  <a:gd name="T9" fmla="*/ 5 h 10"/>
                  <a:gd name="T10" fmla="*/ 15 w 77"/>
                  <a:gd name="T11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10">
                    <a:moveTo>
                      <a:pt x="15" y="2"/>
                    </a:moveTo>
                    <a:cubicBezTo>
                      <a:pt x="15" y="2"/>
                      <a:pt x="69" y="0"/>
                      <a:pt x="73" y="0"/>
                    </a:cubicBezTo>
                    <a:cubicBezTo>
                      <a:pt x="77" y="0"/>
                      <a:pt x="75" y="4"/>
                      <a:pt x="72" y="5"/>
                    </a:cubicBezTo>
                    <a:cubicBezTo>
                      <a:pt x="68" y="6"/>
                      <a:pt x="0" y="10"/>
                      <a:pt x="0" y="10"/>
                    </a:cubicBezTo>
                    <a:cubicBezTo>
                      <a:pt x="0" y="10"/>
                      <a:pt x="29" y="6"/>
                      <a:pt x="31" y="5"/>
                    </a:cubicBezTo>
                    <a:cubicBezTo>
                      <a:pt x="32" y="4"/>
                      <a:pt x="15" y="2"/>
                      <a:pt x="15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33" name="Freeform 13"/>
              <p:cNvSpPr/>
              <p:nvPr/>
            </p:nvSpPr>
            <p:spPr bwMode="auto">
              <a:xfrm>
                <a:off x="4195763" y="3868738"/>
                <a:ext cx="217488" cy="33338"/>
              </a:xfrm>
              <a:custGeom>
                <a:avLst/>
                <a:gdLst>
                  <a:gd name="T0" fmla="*/ 0 w 58"/>
                  <a:gd name="T1" fmla="*/ 4 h 9"/>
                  <a:gd name="T2" fmla="*/ 56 w 58"/>
                  <a:gd name="T3" fmla="*/ 0 h 9"/>
                  <a:gd name="T4" fmla="*/ 0 w 58"/>
                  <a:gd name="T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8" h="9">
                    <a:moveTo>
                      <a:pt x="0" y="4"/>
                    </a:moveTo>
                    <a:cubicBezTo>
                      <a:pt x="0" y="4"/>
                      <a:pt x="55" y="0"/>
                      <a:pt x="56" y="0"/>
                    </a:cubicBezTo>
                    <a:cubicBezTo>
                      <a:pt x="58" y="0"/>
                      <a:pt x="22" y="9"/>
                      <a:pt x="0" y="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34" name="Freeform 14"/>
              <p:cNvSpPr/>
              <p:nvPr/>
            </p:nvSpPr>
            <p:spPr bwMode="auto">
              <a:xfrm>
                <a:off x="4117976" y="3935413"/>
                <a:ext cx="280988" cy="30163"/>
              </a:xfrm>
              <a:custGeom>
                <a:avLst/>
                <a:gdLst>
                  <a:gd name="T0" fmla="*/ 23 w 75"/>
                  <a:gd name="T1" fmla="*/ 0 h 8"/>
                  <a:gd name="T2" fmla="*/ 71 w 75"/>
                  <a:gd name="T3" fmla="*/ 0 h 8"/>
                  <a:gd name="T4" fmla="*/ 65 w 75"/>
                  <a:gd name="T5" fmla="*/ 4 h 8"/>
                  <a:gd name="T6" fmla="*/ 0 w 75"/>
                  <a:gd name="T7" fmla="*/ 8 h 8"/>
                  <a:gd name="T8" fmla="*/ 31 w 75"/>
                  <a:gd name="T9" fmla="*/ 3 h 8"/>
                  <a:gd name="T10" fmla="*/ 23 w 75"/>
                  <a:gd name="T1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5" h="8">
                    <a:moveTo>
                      <a:pt x="23" y="0"/>
                    </a:moveTo>
                    <a:cubicBezTo>
                      <a:pt x="23" y="0"/>
                      <a:pt x="67" y="0"/>
                      <a:pt x="71" y="0"/>
                    </a:cubicBezTo>
                    <a:cubicBezTo>
                      <a:pt x="75" y="1"/>
                      <a:pt x="68" y="3"/>
                      <a:pt x="65" y="4"/>
                    </a:cubicBezTo>
                    <a:cubicBezTo>
                      <a:pt x="62" y="5"/>
                      <a:pt x="0" y="8"/>
                      <a:pt x="0" y="8"/>
                    </a:cubicBezTo>
                    <a:cubicBezTo>
                      <a:pt x="0" y="8"/>
                      <a:pt x="28" y="4"/>
                      <a:pt x="31" y="3"/>
                    </a:cubicBezTo>
                    <a:cubicBezTo>
                      <a:pt x="33" y="3"/>
                      <a:pt x="33" y="3"/>
                      <a:pt x="2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35" name="Freeform 15"/>
              <p:cNvSpPr/>
              <p:nvPr/>
            </p:nvSpPr>
            <p:spPr bwMode="auto">
              <a:xfrm>
                <a:off x="4206876" y="3984625"/>
                <a:ext cx="206375" cy="25400"/>
              </a:xfrm>
              <a:custGeom>
                <a:avLst/>
                <a:gdLst>
                  <a:gd name="T0" fmla="*/ 0 w 55"/>
                  <a:gd name="T1" fmla="*/ 3 h 7"/>
                  <a:gd name="T2" fmla="*/ 53 w 55"/>
                  <a:gd name="T3" fmla="*/ 0 h 7"/>
                  <a:gd name="T4" fmla="*/ 0 w 55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5" h="7">
                    <a:moveTo>
                      <a:pt x="0" y="3"/>
                    </a:moveTo>
                    <a:cubicBezTo>
                      <a:pt x="0" y="3"/>
                      <a:pt x="51" y="0"/>
                      <a:pt x="53" y="0"/>
                    </a:cubicBezTo>
                    <a:cubicBezTo>
                      <a:pt x="55" y="0"/>
                      <a:pt x="28" y="7"/>
                      <a:pt x="0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36" name="Freeform 16"/>
              <p:cNvSpPr/>
              <p:nvPr/>
            </p:nvSpPr>
            <p:spPr bwMode="auto">
              <a:xfrm>
                <a:off x="4222751" y="4044949"/>
                <a:ext cx="160338" cy="28576"/>
              </a:xfrm>
              <a:custGeom>
                <a:avLst/>
                <a:gdLst>
                  <a:gd name="T0" fmla="*/ 0 w 43"/>
                  <a:gd name="T1" fmla="*/ 2 h 8"/>
                  <a:gd name="T2" fmla="*/ 41 w 43"/>
                  <a:gd name="T3" fmla="*/ 1 h 8"/>
                  <a:gd name="T4" fmla="*/ 26 w 43"/>
                  <a:gd name="T5" fmla="*/ 7 h 8"/>
                  <a:gd name="T6" fmla="*/ 0 w 43"/>
                  <a:gd name="T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8">
                    <a:moveTo>
                      <a:pt x="0" y="2"/>
                    </a:moveTo>
                    <a:cubicBezTo>
                      <a:pt x="0" y="2"/>
                      <a:pt x="38" y="0"/>
                      <a:pt x="41" y="1"/>
                    </a:cubicBezTo>
                    <a:cubicBezTo>
                      <a:pt x="43" y="1"/>
                      <a:pt x="31" y="5"/>
                      <a:pt x="26" y="7"/>
                    </a:cubicBezTo>
                    <a:cubicBezTo>
                      <a:pt x="20" y="8"/>
                      <a:pt x="12" y="7"/>
                      <a:pt x="0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37" name="Freeform 17"/>
              <p:cNvSpPr/>
              <p:nvPr/>
            </p:nvSpPr>
            <p:spPr bwMode="auto">
              <a:xfrm>
                <a:off x="4151313" y="4070350"/>
                <a:ext cx="314325" cy="30163"/>
              </a:xfrm>
              <a:custGeom>
                <a:avLst/>
                <a:gdLst>
                  <a:gd name="T0" fmla="*/ 0 w 84"/>
                  <a:gd name="T1" fmla="*/ 5 h 8"/>
                  <a:gd name="T2" fmla="*/ 84 w 84"/>
                  <a:gd name="T3" fmla="*/ 0 h 8"/>
                  <a:gd name="T4" fmla="*/ 32 w 84"/>
                  <a:gd name="T5" fmla="*/ 8 h 8"/>
                  <a:gd name="T6" fmla="*/ 0 w 84"/>
                  <a:gd name="T7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4" h="8">
                    <a:moveTo>
                      <a:pt x="0" y="5"/>
                    </a:moveTo>
                    <a:cubicBezTo>
                      <a:pt x="0" y="5"/>
                      <a:pt x="76" y="2"/>
                      <a:pt x="84" y="0"/>
                    </a:cubicBezTo>
                    <a:cubicBezTo>
                      <a:pt x="84" y="0"/>
                      <a:pt x="75" y="6"/>
                      <a:pt x="32" y="8"/>
                    </a:cubicBezTo>
                    <a:cubicBezTo>
                      <a:pt x="32" y="8"/>
                      <a:pt x="9" y="7"/>
                      <a:pt x="0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38" name="Freeform 18"/>
              <p:cNvSpPr/>
              <p:nvPr/>
            </p:nvSpPr>
            <p:spPr bwMode="auto">
              <a:xfrm>
                <a:off x="4514851" y="3703638"/>
                <a:ext cx="36513" cy="22225"/>
              </a:xfrm>
              <a:custGeom>
                <a:avLst/>
                <a:gdLst>
                  <a:gd name="T0" fmla="*/ 7 w 10"/>
                  <a:gd name="T1" fmla="*/ 0 h 6"/>
                  <a:gd name="T2" fmla="*/ 0 w 10"/>
                  <a:gd name="T3" fmla="*/ 6 h 6"/>
                  <a:gd name="T4" fmla="*/ 7 w 10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7" y="0"/>
                    </a:moveTo>
                    <a:cubicBezTo>
                      <a:pt x="7" y="0"/>
                      <a:pt x="10" y="5"/>
                      <a:pt x="0" y="6"/>
                    </a:cubicBez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39" name="Freeform 19"/>
              <p:cNvSpPr/>
              <p:nvPr/>
            </p:nvSpPr>
            <p:spPr bwMode="auto">
              <a:xfrm>
                <a:off x="4510088" y="3579813"/>
                <a:ext cx="41275" cy="19050"/>
              </a:xfrm>
              <a:custGeom>
                <a:avLst/>
                <a:gdLst>
                  <a:gd name="T0" fmla="*/ 8 w 11"/>
                  <a:gd name="T1" fmla="*/ 0 h 5"/>
                  <a:gd name="T2" fmla="*/ 0 w 11"/>
                  <a:gd name="T3" fmla="*/ 5 h 5"/>
                  <a:gd name="T4" fmla="*/ 8 w 11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5">
                    <a:moveTo>
                      <a:pt x="8" y="0"/>
                    </a:moveTo>
                    <a:cubicBezTo>
                      <a:pt x="8" y="0"/>
                      <a:pt x="11" y="4"/>
                      <a:pt x="0" y="5"/>
                    </a:cubicBez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40" name="Freeform 20"/>
              <p:cNvSpPr/>
              <p:nvPr/>
            </p:nvSpPr>
            <p:spPr bwMode="auto">
              <a:xfrm>
                <a:off x="4495801" y="3819525"/>
                <a:ext cx="55563" cy="19050"/>
              </a:xfrm>
              <a:custGeom>
                <a:avLst/>
                <a:gdLst>
                  <a:gd name="T0" fmla="*/ 11 w 15"/>
                  <a:gd name="T1" fmla="*/ 0 h 5"/>
                  <a:gd name="T2" fmla="*/ 0 w 15"/>
                  <a:gd name="T3" fmla="*/ 5 h 5"/>
                  <a:gd name="T4" fmla="*/ 11 w 15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5">
                    <a:moveTo>
                      <a:pt x="11" y="0"/>
                    </a:moveTo>
                    <a:cubicBezTo>
                      <a:pt x="11" y="0"/>
                      <a:pt x="15" y="4"/>
                      <a:pt x="0" y="5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41" name="Freeform 21"/>
              <p:cNvSpPr/>
              <p:nvPr/>
            </p:nvSpPr>
            <p:spPr bwMode="auto">
              <a:xfrm>
                <a:off x="4498976" y="3894138"/>
                <a:ext cx="46038" cy="57150"/>
              </a:xfrm>
              <a:custGeom>
                <a:avLst/>
                <a:gdLst>
                  <a:gd name="T0" fmla="*/ 6 w 12"/>
                  <a:gd name="T1" fmla="*/ 0 h 15"/>
                  <a:gd name="T2" fmla="*/ 7 w 12"/>
                  <a:gd name="T3" fmla="*/ 6 h 15"/>
                  <a:gd name="T4" fmla="*/ 12 w 12"/>
                  <a:gd name="T5" fmla="*/ 12 h 15"/>
                  <a:gd name="T6" fmla="*/ 0 w 12"/>
                  <a:gd name="T7" fmla="*/ 14 h 15"/>
                  <a:gd name="T8" fmla="*/ 6 w 12"/>
                  <a:gd name="T9" fmla="*/ 10 h 15"/>
                  <a:gd name="T10" fmla="*/ 6 w 12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5">
                    <a:moveTo>
                      <a:pt x="6" y="0"/>
                    </a:moveTo>
                    <a:cubicBezTo>
                      <a:pt x="6" y="0"/>
                      <a:pt x="6" y="5"/>
                      <a:pt x="7" y="6"/>
                    </a:cubicBezTo>
                    <a:cubicBezTo>
                      <a:pt x="8" y="7"/>
                      <a:pt x="12" y="12"/>
                      <a:pt x="12" y="12"/>
                    </a:cubicBezTo>
                    <a:cubicBezTo>
                      <a:pt x="12" y="12"/>
                      <a:pt x="3" y="15"/>
                      <a:pt x="0" y="14"/>
                    </a:cubicBezTo>
                    <a:cubicBezTo>
                      <a:pt x="0" y="14"/>
                      <a:pt x="5" y="12"/>
                      <a:pt x="6" y="10"/>
                    </a:cubicBezTo>
                    <a:cubicBezTo>
                      <a:pt x="6" y="9"/>
                      <a:pt x="5" y="1"/>
                      <a:pt x="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42" name="Freeform 22"/>
              <p:cNvSpPr/>
              <p:nvPr/>
            </p:nvSpPr>
            <p:spPr bwMode="auto">
              <a:xfrm>
                <a:off x="4518026" y="4037013"/>
                <a:ext cx="22225" cy="19050"/>
              </a:xfrm>
              <a:custGeom>
                <a:avLst/>
                <a:gdLst>
                  <a:gd name="T0" fmla="*/ 3 w 6"/>
                  <a:gd name="T1" fmla="*/ 0 h 5"/>
                  <a:gd name="T2" fmla="*/ 0 w 6"/>
                  <a:gd name="T3" fmla="*/ 5 h 5"/>
                  <a:gd name="T4" fmla="*/ 3 w 6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3" y="0"/>
                    </a:moveTo>
                    <a:cubicBezTo>
                      <a:pt x="3" y="0"/>
                      <a:pt x="6" y="4"/>
                      <a:pt x="0" y="5"/>
                    </a:cubicBez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43" name="Freeform 23"/>
              <p:cNvSpPr/>
              <p:nvPr/>
            </p:nvSpPr>
            <p:spPr bwMode="auto">
              <a:xfrm>
                <a:off x="3814763" y="3557588"/>
                <a:ext cx="206375" cy="22225"/>
              </a:xfrm>
              <a:custGeom>
                <a:avLst/>
                <a:gdLst>
                  <a:gd name="T0" fmla="*/ 0 w 55"/>
                  <a:gd name="T1" fmla="*/ 0 h 6"/>
                  <a:gd name="T2" fmla="*/ 55 w 55"/>
                  <a:gd name="T3" fmla="*/ 3 h 6"/>
                  <a:gd name="T4" fmla="*/ 0 w 55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5" h="6">
                    <a:moveTo>
                      <a:pt x="0" y="0"/>
                    </a:moveTo>
                    <a:cubicBezTo>
                      <a:pt x="55" y="3"/>
                      <a:pt x="55" y="3"/>
                      <a:pt x="55" y="3"/>
                    </a:cubicBezTo>
                    <a:cubicBezTo>
                      <a:pt x="55" y="3"/>
                      <a:pt x="15" y="6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44" name="Freeform 24"/>
              <p:cNvSpPr/>
              <p:nvPr/>
            </p:nvSpPr>
            <p:spPr bwMode="auto">
              <a:xfrm>
                <a:off x="3762376" y="3744913"/>
                <a:ext cx="71438" cy="17463"/>
              </a:xfrm>
              <a:custGeom>
                <a:avLst/>
                <a:gdLst>
                  <a:gd name="T0" fmla="*/ 7 w 19"/>
                  <a:gd name="T1" fmla="*/ 0 h 5"/>
                  <a:gd name="T2" fmla="*/ 19 w 19"/>
                  <a:gd name="T3" fmla="*/ 1 h 5"/>
                  <a:gd name="T4" fmla="*/ 4 w 19"/>
                  <a:gd name="T5" fmla="*/ 4 h 5"/>
                  <a:gd name="T6" fmla="*/ 7 w 19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5">
                    <a:moveTo>
                      <a:pt x="7" y="0"/>
                    </a:moveTo>
                    <a:cubicBezTo>
                      <a:pt x="19" y="1"/>
                      <a:pt x="19" y="1"/>
                      <a:pt x="19" y="1"/>
                    </a:cubicBezTo>
                    <a:cubicBezTo>
                      <a:pt x="19" y="1"/>
                      <a:pt x="7" y="4"/>
                      <a:pt x="4" y="4"/>
                    </a:cubicBezTo>
                    <a:cubicBezTo>
                      <a:pt x="0" y="5"/>
                      <a:pt x="7" y="0"/>
                      <a:pt x="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45" name="Freeform 25"/>
              <p:cNvSpPr/>
              <p:nvPr/>
            </p:nvSpPr>
            <p:spPr bwMode="auto">
              <a:xfrm>
                <a:off x="3762376" y="3857625"/>
                <a:ext cx="74613" cy="14288"/>
              </a:xfrm>
              <a:custGeom>
                <a:avLst/>
                <a:gdLst>
                  <a:gd name="T0" fmla="*/ 6 w 20"/>
                  <a:gd name="T1" fmla="*/ 0 h 4"/>
                  <a:gd name="T2" fmla="*/ 20 w 20"/>
                  <a:gd name="T3" fmla="*/ 0 h 4"/>
                  <a:gd name="T4" fmla="*/ 2 w 20"/>
                  <a:gd name="T5" fmla="*/ 4 h 4"/>
                  <a:gd name="T6" fmla="*/ 6 w 20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4">
                    <a:moveTo>
                      <a:pt x="6" y="0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4" y="4"/>
                      <a:pt x="2" y="4"/>
                    </a:cubicBezTo>
                    <a:cubicBezTo>
                      <a:pt x="0" y="4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46" name="Freeform 26"/>
              <p:cNvSpPr/>
              <p:nvPr/>
            </p:nvSpPr>
            <p:spPr bwMode="auto">
              <a:xfrm>
                <a:off x="3759201" y="3979863"/>
                <a:ext cx="74613" cy="19050"/>
              </a:xfrm>
              <a:custGeom>
                <a:avLst/>
                <a:gdLst>
                  <a:gd name="T0" fmla="*/ 6 w 20"/>
                  <a:gd name="T1" fmla="*/ 0 h 5"/>
                  <a:gd name="T2" fmla="*/ 20 w 20"/>
                  <a:gd name="T3" fmla="*/ 1 h 5"/>
                  <a:gd name="T4" fmla="*/ 2 w 20"/>
                  <a:gd name="T5" fmla="*/ 5 h 5"/>
                  <a:gd name="T6" fmla="*/ 6 w 20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5">
                    <a:moveTo>
                      <a:pt x="6" y="0"/>
                    </a:moveTo>
                    <a:cubicBezTo>
                      <a:pt x="20" y="1"/>
                      <a:pt x="20" y="1"/>
                      <a:pt x="20" y="1"/>
                    </a:cubicBezTo>
                    <a:cubicBezTo>
                      <a:pt x="20" y="1"/>
                      <a:pt x="3" y="5"/>
                      <a:pt x="2" y="5"/>
                    </a:cubicBezTo>
                    <a:cubicBezTo>
                      <a:pt x="0" y="5"/>
                      <a:pt x="6" y="0"/>
                      <a:pt x="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47" name="Freeform 27"/>
              <p:cNvSpPr/>
              <p:nvPr/>
            </p:nvSpPr>
            <p:spPr bwMode="auto">
              <a:xfrm>
                <a:off x="3822701" y="4086225"/>
                <a:ext cx="268288" cy="33338"/>
              </a:xfrm>
              <a:custGeom>
                <a:avLst/>
                <a:gdLst>
                  <a:gd name="T0" fmla="*/ 0 w 72"/>
                  <a:gd name="T1" fmla="*/ 0 h 9"/>
                  <a:gd name="T2" fmla="*/ 68 w 72"/>
                  <a:gd name="T3" fmla="*/ 1 h 9"/>
                  <a:gd name="T4" fmla="*/ 0 w 72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2" h="9">
                    <a:moveTo>
                      <a:pt x="0" y="0"/>
                    </a:moveTo>
                    <a:cubicBezTo>
                      <a:pt x="0" y="0"/>
                      <a:pt x="65" y="2"/>
                      <a:pt x="68" y="1"/>
                    </a:cubicBezTo>
                    <a:cubicBezTo>
                      <a:pt x="72" y="1"/>
                      <a:pt x="24" y="9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48" name="Freeform 28"/>
              <p:cNvSpPr/>
              <p:nvPr/>
            </p:nvSpPr>
            <p:spPr bwMode="auto">
              <a:xfrm>
                <a:off x="4300538" y="4114800"/>
                <a:ext cx="134938" cy="120650"/>
              </a:xfrm>
              <a:custGeom>
                <a:avLst/>
                <a:gdLst>
                  <a:gd name="T0" fmla="*/ 36 w 36"/>
                  <a:gd name="T1" fmla="*/ 0 h 32"/>
                  <a:gd name="T2" fmla="*/ 3 w 36"/>
                  <a:gd name="T3" fmla="*/ 31 h 32"/>
                  <a:gd name="T4" fmla="*/ 36 w 36"/>
                  <a:gd name="T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6" h="32">
                    <a:moveTo>
                      <a:pt x="36" y="0"/>
                    </a:moveTo>
                    <a:cubicBezTo>
                      <a:pt x="36" y="0"/>
                      <a:pt x="5" y="30"/>
                      <a:pt x="3" y="31"/>
                    </a:cubicBezTo>
                    <a:cubicBezTo>
                      <a:pt x="0" y="32"/>
                      <a:pt x="21" y="8"/>
                      <a:pt x="3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</p:grpSp>
        <p:grpSp>
          <p:nvGrpSpPr>
            <p:cNvPr id="49" name="Group 37"/>
            <p:cNvGrpSpPr>
              <a:grpSpLocks noChangeAspect="1"/>
            </p:cNvGrpSpPr>
            <p:nvPr/>
          </p:nvGrpSpPr>
          <p:grpSpPr bwMode="auto">
            <a:xfrm>
              <a:off x="1012403" y="2383621"/>
              <a:ext cx="1656235" cy="2003987"/>
              <a:chOff x="2250" y="790"/>
              <a:chExt cx="1205" cy="1458"/>
            </a:xfrm>
          </p:grpSpPr>
          <p:sp>
            <p:nvSpPr>
              <p:cNvPr id="50" name="Rectangle 38"/>
              <p:cNvSpPr>
                <a:spLocks noChangeArrowheads="1"/>
              </p:cNvSpPr>
              <p:nvPr/>
            </p:nvSpPr>
            <p:spPr bwMode="auto">
              <a:xfrm>
                <a:off x="2847" y="1827"/>
                <a:ext cx="12" cy="369"/>
              </a:xfrm>
              <a:prstGeom prst="rect">
                <a:avLst/>
              </a:pr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51" name="Freeform 39"/>
              <p:cNvSpPr/>
              <p:nvPr/>
            </p:nvSpPr>
            <p:spPr bwMode="auto">
              <a:xfrm>
                <a:off x="2852" y="2189"/>
                <a:ext cx="170" cy="19"/>
              </a:xfrm>
              <a:custGeom>
                <a:avLst/>
                <a:gdLst>
                  <a:gd name="T0" fmla="*/ 170 w 170"/>
                  <a:gd name="T1" fmla="*/ 19 h 19"/>
                  <a:gd name="T2" fmla="*/ 0 w 170"/>
                  <a:gd name="T3" fmla="*/ 12 h 19"/>
                  <a:gd name="T4" fmla="*/ 0 w 170"/>
                  <a:gd name="T5" fmla="*/ 0 h 19"/>
                  <a:gd name="T6" fmla="*/ 170 w 170"/>
                  <a:gd name="T7" fmla="*/ 7 h 19"/>
                  <a:gd name="T8" fmla="*/ 170 w 170"/>
                  <a:gd name="T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0" h="19">
                    <a:moveTo>
                      <a:pt x="170" y="19"/>
                    </a:moveTo>
                    <a:lnTo>
                      <a:pt x="0" y="12"/>
                    </a:lnTo>
                    <a:lnTo>
                      <a:pt x="0" y="0"/>
                    </a:lnTo>
                    <a:lnTo>
                      <a:pt x="170" y="7"/>
                    </a:lnTo>
                    <a:lnTo>
                      <a:pt x="170" y="1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52" name="Freeform 40"/>
              <p:cNvSpPr/>
              <p:nvPr/>
            </p:nvSpPr>
            <p:spPr bwMode="auto">
              <a:xfrm>
                <a:off x="2725" y="2028"/>
                <a:ext cx="130" cy="170"/>
              </a:xfrm>
              <a:custGeom>
                <a:avLst/>
                <a:gdLst>
                  <a:gd name="T0" fmla="*/ 120 w 130"/>
                  <a:gd name="T1" fmla="*/ 170 h 170"/>
                  <a:gd name="T2" fmla="*/ 0 w 130"/>
                  <a:gd name="T3" fmla="*/ 7 h 170"/>
                  <a:gd name="T4" fmla="*/ 9 w 130"/>
                  <a:gd name="T5" fmla="*/ 0 h 170"/>
                  <a:gd name="T6" fmla="*/ 130 w 130"/>
                  <a:gd name="T7" fmla="*/ 163 h 170"/>
                  <a:gd name="T8" fmla="*/ 120 w 130"/>
                  <a:gd name="T9" fmla="*/ 170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0" h="170">
                    <a:moveTo>
                      <a:pt x="120" y="170"/>
                    </a:moveTo>
                    <a:lnTo>
                      <a:pt x="0" y="7"/>
                    </a:lnTo>
                    <a:lnTo>
                      <a:pt x="9" y="0"/>
                    </a:lnTo>
                    <a:lnTo>
                      <a:pt x="130" y="163"/>
                    </a:lnTo>
                    <a:lnTo>
                      <a:pt x="120" y="17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53" name="Freeform 41"/>
              <p:cNvSpPr/>
              <p:nvPr/>
            </p:nvSpPr>
            <p:spPr bwMode="auto">
              <a:xfrm>
                <a:off x="2845" y="2047"/>
                <a:ext cx="191" cy="151"/>
              </a:xfrm>
              <a:custGeom>
                <a:avLst/>
                <a:gdLst>
                  <a:gd name="T0" fmla="*/ 7 w 191"/>
                  <a:gd name="T1" fmla="*/ 151 h 151"/>
                  <a:gd name="T2" fmla="*/ 0 w 191"/>
                  <a:gd name="T3" fmla="*/ 142 h 151"/>
                  <a:gd name="T4" fmla="*/ 184 w 191"/>
                  <a:gd name="T5" fmla="*/ 0 h 151"/>
                  <a:gd name="T6" fmla="*/ 191 w 191"/>
                  <a:gd name="T7" fmla="*/ 10 h 151"/>
                  <a:gd name="T8" fmla="*/ 7 w 191"/>
                  <a:gd name="T9" fmla="*/ 151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" h="151">
                    <a:moveTo>
                      <a:pt x="7" y="151"/>
                    </a:moveTo>
                    <a:lnTo>
                      <a:pt x="0" y="142"/>
                    </a:lnTo>
                    <a:lnTo>
                      <a:pt x="184" y="0"/>
                    </a:lnTo>
                    <a:lnTo>
                      <a:pt x="191" y="10"/>
                    </a:lnTo>
                    <a:lnTo>
                      <a:pt x="7" y="15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54" name="Freeform 42"/>
              <p:cNvSpPr/>
              <p:nvPr/>
            </p:nvSpPr>
            <p:spPr bwMode="auto">
              <a:xfrm>
                <a:off x="2585" y="2191"/>
                <a:ext cx="265" cy="19"/>
              </a:xfrm>
              <a:custGeom>
                <a:avLst/>
                <a:gdLst>
                  <a:gd name="T0" fmla="*/ 0 w 265"/>
                  <a:gd name="T1" fmla="*/ 19 h 19"/>
                  <a:gd name="T2" fmla="*/ 0 w 265"/>
                  <a:gd name="T3" fmla="*/ 7 h 19"/>
                  <a:gd name="T4" fmla="*/ 265 w 265"/>
                  <a:gd name="T5" fmla="*/ 0 h 19"/>
                  <a:gd name="T6" fmla="*/ 265 w 265"/>
                  <a:gd name="T7" fmla="*/ 12 h 19"/>
                  <a:gd name="T8" fmla="*/ 0 w 265"/>
                  <a:gd name="T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5" h="19">
                    <a:moveTo>
                      <a:pt x="0" y="19"/>
                    </a:moveTo>
                    <a:lnTo>
                      <a:pt x="0" y="7"/>
                    </a:lnTo>
                    <a:lnTo>
                      <a:pt x="265" y="0"/>
                    </a:lnTo>
                    <a:lnTo>
                      <a:pt x="265" y="12"/>
                    </a:lnTo>
                    <a:lnTo>
                      <a:pt x="0" y="1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55" name="Freeform 43"/>
              <p:cNvSpPr/>
              <p:nvPr/>
            </p:nvSpPr>
            <p:spPr bwMode="auto">
              <a:xfrm>
                <a:off x="2524" y="2005"/>
                <a:ext cx="66" cy="201"/>
              </a:xfrm>
              <a:custGeom>
                <a:avLst/>
                <a:gdLst>
                  <a:gd name="T0" fmla="*/ 54 w 66"/>
                  <a:gd name="T1" fmla="*/ 201 h 201"/>
                  <a:gd name="T2" fmla="*/ 0 w 66"/>
                  <a:gd name="T3" fmla="*/ 2 h 201"/>
                  <a:gd name="T4" fmla="*/ 12 w 66"/>
                  <a:gd name="T5" fmla="*/ 0 h 201"/>
                  <a:gd name="T6" fmla="*/ 66 w 66"/>
                  <a:gd name="T7" fmla="*/ 198 h 201"/>
                  <a:gd name="T8" fmla="*/ 54 w 66"/>
                  <a:gd name="T9" fmla="*/ 201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201">
                    <a:moveTo>
                      <a:pt x="54" y="201"/>
                    </a:moveTo>
                    <a:lnTo>
                      <a:pt x="0" y="2"/>
                    </a:lnTo>
                    <a:lnTo>
                      <a:pt x="12" y="0"/>
                    </a:lnTo>
                    <a:lnTo>
                      <a:pt x="66" y="198"/>
                    </a:lnTo>
                    <a:lnTo>
                      <a:pt x="54" y="20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56" name="Freeform 44"/>
              <p:cNvSpPr/>
              <p:nvPr/>
            </p:nvSpPr>
            <p:spPr bwMode="auto">
              <a:xfrm>
                <a:off x="2578" y="2031"/>
                <a:ext cx="154" cy="175"/>
              </a:xfrm>
              <a:custGeom>
                <a:avLst/>
                <a:gdLst>
                  <a:gd name="T0" fmla="*/ 9 w 154"/>
                  <a:gd name="T1" fmla="*/ 175 h 175"/>
                  <a:gd name="T2" fmla="*/ 0 w 154"/>
                  <a:gd name="T3" fmla="*/ 167 h 175"/>
                  <a:gd name="T4" fmla="*/ 147 w 154"/>
                  <a:gd name="T5" fmla="*/ 0 h 175"/>
                  <a:gd name="T6" fmla="*/ 154 w 154"/>
                  <a:gd name="T7" fmla="*/ 7 h 175"/>
                  <a:gd name="T8" fmla="*/ 9 w 154"/>
                  <a:gd name="T9" fmla="*/ 175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4" h="175">
                    <a:moveTo>
                      <a:pt x="9" y="175"/>
                    </a:moveTo>
                    <a:lnTo>
                      <a:pt x="0" y="167"/>
                    </a:lnTo>
                    <a:lnTo>
                      <a:pt x="147" y="0"/>
                    </a:lnTo>
                    <a:lnTo>
                      <a:pt x="154" y="7"/>
                    </a:lnTo>
                    <a:lnTo>
                      <a:pt x="9" y="17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57" name="Freeform 45"/>
              <p:cNvSpPr/>
              <p:nvPr/>
            </p:nvSpPr>
            <p:spPr bwMode="auto">
              <a:xfrm>
                <a:off x="2526" y="2000"/>
                <a:ext cx="203" cy="35"/>
              </a:xfrm>
              <a:custGeom>
                <a:avLst/>
                <a:gdLst>
                  <a:gd name="T0" fmla="*/ 203 w 203"/>
                  <a:gd name="T1" fmla="*/ 35 h 35"/>
                  <a:gd name="T2" fmla="*/ 0 w 203"/>
                  <a:gd name="T3" fmla="*/ 9 h 35"/>
                  <a:gd name="T4" fmla="*/ 2 w 203"/>
                  <a:gd name="T5" fmla="*/ 0 h 35"/>
                  <a:gd name="T6" fmla="*/ 203 w 203"/>
                  <a:gd name="T7" fmla="*/ 26 h 35"/>
                  <a:gd name="T8" fmla="*/ 203 w 203"/>
                  <a:gd name="T9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3" h="35">
                    <a:moveTo>
                      <a:pt x="203" y="35"/>
                    </a:moveTo>
                    <a:lnTo>
                      <a:pt x="0" y="9"/>
                    </a:lnTo>
                    <a:lnTo>
                      <a:pt x="2" y="0"/>
                    </a:lnTo>
                    <a:lnTo>
                      <a:pt x="203" y="26"/>
                    </a:lnTo>
                    <a:lnTo>
                      <a:pt x="203" y="3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58" name="Freeform 46"/>
              <p:cNvSpPr/>
              <p:nvPr/>
            </p:nvSpPr>
            <p:spPr bwMode="auto">
              <a:xfrm>
                <a:off x="2725" y="1827"/>
                <a:ext cx="132" cy="206"/>
              </a:xfrm>
              <a:custGeom>
                <a:avLst/>
                <a:gdLst>
                  <a:gd name="T0" fmla="*/ 9 w 132"/>
                  <a:gd name="T1" fmla="*/ 206 h 206"/>
                  <a:gd name="T2" fmla="*/ 0 w 132"/>
                  <a:gd name="T3" fmla="*/ 199 h 206"/>
                  <a:gd name="T4" fmla="*/ 122 w 132"/>
                  <a:gd name="T5" fmla="*/ 0 h 206"/>
                  <a:gd name="T6" fmla="*/ 132 w 132"/>
                  <a:gd name="T7" fmla="*/ 8 h 206"/>
                  <a:gd name="T8" fmla="*/ 9 w 132"/>
                  <a:gd name="T9" fmla="*/ 206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" h="206">
                    <a:moveTo>
                      <a:pt x="9" y="206"/>
                    </a:moveTo>
                    <a:lnTo>
                      <a:pt x="0" y="199"/>
                    </a:lnTo>
                    <a:lnTo>
                      <a:pt x="122" y="0"/>
                    </a:lnTo>
                    <a:lnTo>
                      <a:pt x="132" y="8"/>
                    </a:lnTo>
                    <a:lnTo>
                      <a:pt x="9" y="206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59" name="Freeform 47"/>
              <p:cNvSpPr/>
              <p:nvPr/>
            </p:nvSpPr>
            <p:spPr bwMode="auto">
              <a:xfrm>
                <a:off x="3027" y="1939"/>
                <a:ext cx="156" cy="118"/>
              </a:xfrm>
              <a:custGeom>
                <a:avLst/>
                <a:gdLst>
                  <a:gd name="T0" fmla="*/ 7 w 156"/>
                  <a:gd name="T1" fmla="*/ 118 h 118"/>
                  <a:gd name="T2" fmla="*/ 0 w 156"/>
                  <a:gd name="T3" fmla="*/ 108 h 118"/>
                  <a:gd name="T4" fmla="*/ 149 w 156"/>
                  <a:gd name="T5" fmla="*/ 0 h 118"/>
                  <a:gd name="T6" fmla="*/ 156 w 156"/>
                  <a:gd name="T7" fmla="*/ 7 h 118"/>
                  <a:gd name="T8" fmla="*/ 7 w 156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118">
                    <a:moveTo>
                      <a:pt x="7" y="118"/>
                    </a:moveTo>
                    <a:lnTo>
                      <a:pt x="0" y="108"/>
                    </a:lnTo>
                    <a:lnTo>
                      <a:pt x="149" y="0"/>
                    </a:lnTo>
                    <a:lnTo>
                      <a:pt x="156" y="7"/>
                    </a:lnTo>
                    <a:lnTo>
                      <a:pt x="7" y="11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60" name="Freeform 48"/>
              <p:cNvSpPr/>
              <p:nvPr/>
            </p:nvSpPr>
            <p:spPr bwMode="auto">
              <a:xfrm>
                <a:off x="3018" y="2054"/>
                <a:ext cx="18" cy="144"/>
              </a:xfrm>
              <a:custGeom>
                <a:avLst/>
                <a:gdLst>
                  <a:gd name="T0" fmla="*/ 11 w 18"/>
                  <a:gd name="T1" fmla="*/ 144 h 144"/>
                  <a:gd name="T2" fmla="*/ 0 w 18"/>
                  <a:gd name="T3" fmla="*/ 144 h 144"/>
                  <a:gd name="T4" fmla="*/ 7 w 18"/>
                  <a:gd name="T5" fmla="*/ 0 h 144"/>
                  <a:gd name="T6" fmla="*/ 18 w 18"/>
                  <a:gd name="T7" fmla="*/ 0 h 144"/>
                  <a:gd name="T8" fmla="*/ 11 w 18"/>
                  <a:gd name="T9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44">
                    <a:moveTo>
                      <a:pt x="11" y="144"/>
                    </a:moveTo>
                    <a:lnTo>
                      <a:pt x="0" y="144"/>
                    </a:lnTo>
                    <a:lnTo>
                      <a:pt x="7" y="0"/>
                    </a:lnTo>
                    <a:lnTo>
                      <a:pt x="18" y="0"/>
                    </a:lnTo>
                    <a:lnTo>
                      <a:pt x="11" y="14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61" name="Freeform 49"/>
              <p:cNvSpPr/>
              <p:nvPr/>
            </p:nvSpPr>
            <p:spPr bwMode="auto">
              <a:xfrm>
                <a:off x="2732" y="2021"/>
                <a:ext cx="297" cy="40"/>
              </a:xfrm>
              <a:custGeom>
                <a:avLst/>
                <a:gdLst>
                  <a:gd name="T0" fmla="*/ 297 w 297"/>
                  <a:gd name="T1" fmla="*/ 40 h 40"/>
                  <a:gd name="T2" fmla="*/ 0 w 297"/>
                  <a:gd name="T3" fmla="*/ 10 h 40"/>
                  <a:gd name="T4" fmla="*/ 0 w 297"/>
                  <a:gd name="T5" fmla="*/ 0 h 40"/>
                  <a:gd name="T6" fmla="*/ 297 w 297"/>
                  <a:gd name="T7" fmla="*/ 29 h 40"/>
                  <a:gd name="T8" fmla="*/ 297 w 297"/>
                  <a:gd name="T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7" h="40">
                    <a:moveTo>
                      <a:pt x="297" y="40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297" y="29"/>
                    </a:lnTo>
                    <a:lnTo>
                      <a:pt x="297" y="4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62" name="Freeform 50"/>
              <p:cNvSpPr/>
              <p:nvPr/>
            </p:nvSpPr>
            <p:spPr bwMode="auto">
              <a:xfrm>
                <a:off x="3022" y="1853"/>
                <a:ext cx="14" cy="199"/>
              </a:xfrm>
              <a:custGeom>
                <a:avLst/>
                <a:gdLst>
                  <a:gd name="T0" fmla="*/ 3 w 14"/>
                  <a:gd name="T1" fmla="*/ 199 h 199"/>
                  <a:gd name="T2" fmla="*/ 0 w 14"/>
                  <a:gd name="T3" fmla="*/ 0 h 199"/>
                  <a:gd name="T4" fmla="*/ 12 w 14"/>
                  <a:gd name="T5" fmla="*/ 0 h 199"/>
                  <a:gd name="T6" fmla="*/ 14 w 14"/>
                  <a:gd name="T7" fmla="*/ 199 h 199"/>
                  <a:gd name="T8" fmla="*/ 3 w 14"/>
                  <a:gd name="T9" fmla="*/ 199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99">
                    <a:moveTo>
                      <a:pt x="3" y="199"/>
                    </a:moveTo>
                    <a:lnTo>
                      <a:pt x="0" y="0"/>
                    </a:lnTo>
                    <a:lnTo>
                      <a:pt x="12" y="0"/>
                    </a:lnTo>
                    <a:lnTo>
                      <a:pt x="14" y="199"/>
                    </a:lnTo>
                    <a:lnTo>
                      <a:pt x="3" y="19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63" name="Freeform 51"/>
              <p:cNvSpPr/>
              <p:nvPr/>
            </p:nvSpPr>
            <p:spPr bwMode="auto">
              <a:xfrm>
                <a:off x="3027" y="2042"/>
                <a:ext cx="123" cy="133"/>
              </a:xfrm>
              <a:custGeom>
                <a:avLst/>
                <a:gdLst>
                  <a:gd name="T0" fmla="*/ 49 w 52"/>
                  <a:gd name="T1" fmla="*/ 56 h 56"/>
                  <a:gd name="T2" fmla="*/ 0 w 52"/>
                  <a:gd name="T3" fmla="*/ 2 h 56"/>
                  <a:gd name="T4" fmla="*/ 4 w 52"/>
                  <a:gd name="T5" fmla="*/ 0 h 56"/>
                  <a:gd name="T6" fmla="*/ 2 w 52"/>
                  <a:gd name="T7" fmla="*/ 1 h 56"/>
                  <a:gd name="T8" fmla="*/ 4 w 52"/>
                  <a:gd name="T9" fmla="*/ 0 h 56"/>
                  <a:gd name="T10" fmla="*/ 52 w 52"/>
                  <a:gd name="T11" fmla="*/ 53 h 56"/>
                  <a:gd name="T12" fmla="*/ 49 w 52"/>
                  <a:gd name="T13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2" h="56">
                    <a:moveTo>
                      <a:pt x="49" y="56"/>
                    </a:moveTo>
                    <a:cubicBezTo>
                      <a:pt x="1" y="4"/>
                      <a:pt x="0" y="2"/>
                      <a:pt x="0" y="2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6" y="2"/>
                      <a:pt x="34" y="33"/>
                      <a:pt x="52" y="53"/>
                    </a:cubicBezTo>
                    <a:lnTo>
                      <a:pt x="49" y="56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64" name="Freeform 52"/>
              <p:cNvSpPr/>
              <p:nvPr/>
            </p:nvSpPr>
            <p:spPr bwMode="auto">
              <a:xfrm>
                <a:off x="3025" y="2168"/>
                <a:ext cx="123" cy="40"/>
              </a:xfrm>
              <a:custGeom>
                <a:avLst/>
                <a:gdLst>
                  <a:gd name="T0" fmla="*/ 2 w 123"/>
                  <a:gd name="T1" fmla="*/ 40 h 40"/>
                  <a:gd name="T2" fmla="*/ 0 w 123"/>
                  <a:gd name="T3" fmla="*/ 30 h 40"/>
                  <a:gd name="T4" fmla="*/ 120 w 123"/>
                  <a:gd name="T5" fmla="*/ 0 h 40"/>
                  <a:gd name="T6" fmla="*/ 123 w 123"/>
                  <a:gd name="T7" fmla="*/ 12 h 40"/>
                  <a:gd name="T8" fmla="*/ 2 w 123"/>
                  <a:gd name="T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3" h="40">
                    <a:moveTo>
                      <a:pt x="2" y="40"/>
                    </a:moveTo>
                    <a:lnTo>
                      <a:pt x="0" y="30"/>
                    </a:lnTo>
                    <a:lnTo>
                      <a:pt x="120" y="0"/>
                    </a:lnTo>
                    <a:lnTo>
                      <a:pt x="123" y="12"/>
                    </a:lnTo>
                    <a:lnTo>
                      <a:pt x="2" y="4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65" name="Freeform 53"/>
              <p:cNvSpPr/>
              <p:nvPr/>
            </p:nvSpPr>
            <p:spPr bwMode="auto">
              <a:xfrm>
                <a:off x="3145" y="1943"/>
                <a:ext cx="38" cy="232"/>
              </a:xfrm>
              <a:custGeom>
                <a:avLst/>
                <a:gdLst>
                  <a:gd name="T0" fmla="*/ 10 w 38"/>
                  <a:gd name="T1" fmla="*/ 232 h 232"/>
                  <a:gd name="T2" fmla="*/ 0 w 38"/>
                  <a:gd name="T3" fmla="*/ 232 h 232"/>
                  <a:gd name="T4" fmla="*/ 26 w 38"/>
                  <a:gd name="T5" fmla="*/ 0 h 232"/>
                  <a:gd name="T6" fmla="*/ 38 w 38"/>
                  <a:gd name="T7" fmla="*/ 0 h 232"/>
                  <a:gd name="T8" fmla="*/ 10 w 38"/>
                  <a:gd name="T9" fmla="*/ 232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32">
                    <a:moveTo>
                      <a:pt x="10" y="232"/>
                    </a:moveTo>
                    <a:lnTo>
                      <a:pt x="0" y="232"/>
                    </a:lnTo>
                    <a:lnTo>
                      <a:pt x="26" y="0"/>
                    </a:lnTo>
                    <a:lnTo>
                      <a:pt x="38" y="0"/>
                    </a:lnTo>
                    <a:lnTo>
                      <a:pt x="10" y="232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66" name="Freeform 54"/>
              <p:cNvSpPr/>
              <p:nvPr/>
            </p:nvSpPr>
            <p:spPr bwMode="auto">
              <a:xfrm>
                <a:off x="3174" y="1733"/>
                <a:ext cx="111" cy="215"/>
              </a:xfrm>
              <a:custGeom>
                <a:avLst/>
                <a:gdLst>
                  <a:gd name="T0" fmla="*/ 9 w 111"/>
                  <a:gd name="T1" fmla="*/ 215 h 215"/>
                  <a:gd name="T2" fmla="*/ 0 w 111"/>
                  <a:gd name="T3" fmla="*/ 210 h 215"/>
                  <a:gd name="T4" fmla="*/ 101 w 111"/>
                  <a:gd name="T5" fmla="*/ 0 h 215"/>
                  <a:gd name="T6" fmla="*/ 111 w 111"/>
                  <a:gd name="T7" fmla="*/ 7 h 215"/>
                  <a:gd name="T8" fmla="*/ 9 w 111"/>
                  <a:gd name="T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15">
                    <a:moveTo>
                      <a:pt x="9" y="215"/>
                    </a:moveTo>
                    <a:lnTo>
                      <a:pt x="0" y="210"/>
                    </a:lnTo>
                    <a:lnTo>
                      <a:pt x="101" y="0"/>
                    </a:lnTo>
                    <a:lnTo>
                      <a:pt x="111" y="7"/>
                    </a:lnTo>
                    <a:lnTo>
                      <a:pt x="9" y="21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67" name="Freeform 55"/>
              <p:cNvSpPr/>
              <p:nvPr/>
            </p:nvSpPr>
            <p:spPr bwMode="auto">
              <a:xfrm>
                <a:off x="3273" y="1478"/>
                <a:ext cx="132" cy="262"/>
              </a:xfrm>
              <a:custGeom>
                <a:avLst/>
                <a:gdLst>
                  <a:gd name="T0" fmla="*/ 12 w 132"/>
                  <a:gd name="T1" fmla="*/ 262 h 262"/>
                  <a:gd name="T2" fmla="*/ 0 w 132"/>
                  <a:gd name="T3" fmla="*/ 257 h 262"/>
                  <a:gd name="T4" fmla="*/ 123 w 132"/>
                  <a:gd name="T5" fmla="*/ 0 h 262"/>
                  <a:gd name="T6" fmla="*/ 132 w 132"/>
                  <a:gd name="T7" fmla="*/ 5 h 262"/>
                  <a:gd name="T8" fmla="*/ 12 w 132"/>
                  <a:gd name="T9" fmla="*/ 26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" h="262">
                    <a:moveTo>
                      <a:pt x="12" y="262"/>
                    </a:moveTo>
                    <a:lnTo>
                      <a:pt x="0" y="257"/>
                    </a:lnTo>
                    <a:lnTo>
                      <a:pt x="123" y="0"/>
                    </a:lnTo>
                    <a:lnTo>
                      <a:pt x="132" y="5"/>
                    </a:lnTo>
                    <a:lnTo>
                      <a:pt x="12" y="262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68" name="Freeform 56"/>
              <p:cNvSpPr/>
              <p:nvPr/>
            </p:nvSpPr>
            <p:spPr bwMode="auto">
              <a:xfrm>
                <a:off x="3145" y="1591"/>
                <a:ext cx="140" cy="149"/>
              </a:xfrm>
              <a:custGeom>
                <a:avLst/>
                <a:gdLst>
                  <a:gd name="T0" fmla="*/ 130 w 140"/>
                  <a:gd name="T1" fmla="*/ 149 h 149"/>
                  <a:gd name="T2" fmla="*/ 0 w 140"/>
                  <a:gd name="T3" fmla="*/ 10 h 149"/>
                  <a:gd name="T4" fmla="*/ 7 w 140"/>
                  <a:gd name="T5" fmla="*/ 0 h 149"/>
                  <a:gd name="T6" fmla="*/ 140 w 140"/>
                  <a:gd name="T7" fmla="*/ 142 h 149"/>
                  <a:gd name="T8" fmla="*/ 130 w 140"/>
                  <a:gd name="T9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0" h="149">
                    <a:moveTo>
                      <a:pt x="130" y="149"/>
                    </a:moveTo>
                    <a:lnTo>
                      <a:pt x="0" y="10"/>
                    </a:lnTo>
                    <a:lnTo>
                      <a:pt x="7" y="0"/>
                    </a:lnTo>
                    <a:lnTo>
                      <a:pt x="140" y="142"/>
                    </a:lnTo>
                    <a:lnTo>
                      <a:pt x="130" y="14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69" name="Freeform 57"/>
              <p:cNvSpPr/>
              <p:nvPr/>
            </p:nvSpPr>
            <p:spPr bwMode="auto">
              <a:xfrm>
                <a:off x="3025" y="1591"/>
                <a:ext cx="127" cy="267"/>
              </a:xfrm>
              <a:custGeom>
                <a:avLst/>
                <a:gdLst>
                  <a:gd name="T0" fmla="*/ 9 w 127"/>
                  <a:gd name="T1" fmla="*/ 267 h 267"/>
                  <a:gd name="T2" fmla="*/ 0 w 127"/>
                  <a:gd name="T3" fmla="*/ 262 h 267"/>
                  <a:gd name="T4" fmla="*/ 118 w 127"/>
                  <a:gd name="T5" fmla="*/ 0 h 267"/>
                  <a:gd name="T6" fmla="*/ 127 w 127"/>
                  <a:gd name="T7" fmla="*/ 5 h 267"/>
                  <a:gd name="T8" fmla="*/ 9 w 127"/>
                  <a:gd name="T9" fmla="*/ 267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7" h="267">
                    <a:moveTo>
                      <a:pt x="9" y="267"/>
                    </a:moveTo>
                    <a:lnTo>
                      <a:pt x="0" y="262"/>
                    </a:lnTo>
                    <a:lnTo>
                      <a:pt x="118" y="0"/>
                    </a:lnTo>
                    <a:lnTo>
                      <a:pt x="127" y="5"/>
                    </a:lnTo>
                    <a:lnTo>
                      <a:pt x="9" y="267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70" name="Freeform 58"/>
              <p:cNvSpPr/>
              <p:nvPr/>
            </p:nvSpPr>
            <p:spPr bwMode="auto">
              <a:xfrm>
                <a:off x="2852" y="1823"/>
                <a:ext cx="175" cy="38"/>
              </a:xfrm>
              <a:custGeom>
                <a:avLst/>
                <a:gdLst>
                  <a:gd name="T0" fmla="*/ 173 w 175"/>
                  <a:gd name="T1" fmla="*/ 38 h 38"/>
                  <a:gd name="T2" fmla="*/ 0 w 175"/>
                  <a:gd name="T3" fmla="*/ 12 h 38"/>
                  <a:gd name="T4" fmla="*/ 3 w 175"/>
                  <a:gd name="T5" fmla="*/ 0 h 38"/>
                  <a:gd name="T6" fmla="*/ 175 w 175"/>
                  <a:gd name="T7" fmla="*/ 26 h 38"/>
                  <a:gd name="T8" fmla="*/ 173 w 175"/>
                  <a:gd name="T9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5" h="38">
                    <a:moveTo>
                      <a:pt x="173" y="38"/>
                    </a:moveTo>
                    <a:lnTo>
                      <a:pt x="0" y="12"/>
                    </a:lnTo>
                    <a:lnTo>
                      <a:pt x="3" y="0"/>
                    </a:lnTo>
                    <a:lnTo>
                      <a:pt x="175" y="26"/>
                    </a:lnTo>
                    <a:lnTo>
                      <a:pt x="173" y="3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71" name="Freeform 59"/>
              <p:cNvSpPr/>
              <p:nvPr/>
            </p:nvSpPr>
            <p:spPr bwMode="auto">
              <a:xfrm>
                <a:off x="3027" y="1849"/>
                <a:ext cx="154" cy="97"/>
              </a:xfrm>
              <a:custGeom>
                <a:avLst/>
                <a:gdLst>
                  <a:gd name="T0" fmla="*/ 147 w 154"/>
                  <a:gd name="T1" fmla="*/ 97 h 97"/>
                  <a:gd name="T2" fmla="*/ 0 w 154"/>
                  <a:gd name="T3" fmla="*/ 9 h 97"/>
                  <a:gd name="T4" fmla="*/ 7 w 154"/>
                  <a:gd name="T5" fmla="*/ 0 h 97"/>
                  <a:gd name="T6" fmla="*/ 154 w 154"/>
                  <a:gd name="T7" fmla="*/ 87 h 97"/>
                  <a:gd name="T8" fmla="*/ 147 w 154"/>
                  <a:gd name="T9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4" h="97">
                    <a:moveTo>
                      <a:pt x="147" y="97"/>
                    </a:moveTo>
                    <a:lnTo>
                      <a:pt x="0" y="9"/>
                    </a:lnTo>
                    <a:lnTo>
                      <a:pt x="7" y="0"/>
                    </a:lnTo>
                    <a:lnTo>
                      <a:pt x="154" y="87"/>
                    </a:lnTo>
                    <a:lnTo>
                      <a:pt x="147" y="97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72" name="Freeform 60"/>
              <p:cNvSpPr/>
              <p:nvPr/>
            </p:nvSpPr>
            <p:spPr bwMode="auto">
              <a:xfrm>
                <a:off x="3029" y="1731"/>
                <a:ext cx="251" cy="125"/>
              </a:xfrm>
              <a:custGeom>
                <a:avLst/>
                <a:gdLst>
                  <a:gd name="T0" fmla="*/ 5 w 251"/>
                  <a:gd name="T1" fmla="*/ 125 h 125"/>
                  <a:gd name="T2" fmla="*/ 0 w 251"/>
                  <a:gd name="T3" fmla="*/ 115 h 125"/>
                  <a:gd name="T4" fmla="*/ 246 w 251"/>
                  <a:gd name="T5" fmla="*/ 0 h 125"/>
                  <a:gd name="T6" fmla="*/ 251 w 251"/>
                  <a:gd name="T7" fmla="*/ 11 h 125"/>
                  <a:gd name="T8" fmla="*/ 5 w 251"/>
                  <a:gd name="T9" fmla="*/ 12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1" h="125">
                    <a:moveTo>
                      <a:pt x="5" y="125"/>
                    </a:moveTo>
                    <a:lnTo>
                      <a:pt x="0" y="115"/>
                    </a:lnTo>
                    <a:lnTo>
                      <a:pt x="246" y="0"/>
                    </a:lnTo>
                    <a:lnTo>
                      <a:pt x="251" y="11"/>
                    </a:lnTo>
                    <a:lnTo>
                      <a:pt x="5" y="12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73" name="Freeform 61"/>
              <p:cNvSpPr/>
              <p:nvPr/>
            </p:nvSpPr>
            <p:spPr bwMode="auto">
              <a:xfrm>
                <a:off x="2989" y="1636"/>
                <a:ext cx="45" cy="215"/>
              </a:xfrm>
              <a:custGeom>
                <a:avLst/>
                <a:gdLst>
                  <a:gd name="T0" fmla="*/ 36 w 45"/>
                  <a:gd name="T1" fmla="*/ 215 h 215"/>
                  <a:gd name="T2" fmla="*/ 0 w 45"/>
                  <a:gd name="T3" fmla="*/ 2 h 215"/>
                  <a:gd name="T4" fmla="*/ 12 w 45"/>
                  <a:gd name="T5" fmla="*/ 0 h 215"/>
                  <a:gd name="T6" fmla="*/ 45 w 45"/>
                  <a:gd name="T7" fmla="*/ 213 h 215"/>
                  <a:gd name="T8" fmla="*/ 36 w 45"/>
                  <a:gd name="T9" fmla="*/ 215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215">
                    <a:moveTo>
                      <a:pt x="36" y="215"/>
                    </a:moveTo>
                    <a:lnTo>
                      <a:pt x="0" y="2"/>
                    </a:lnTo>
                    <a:lnTo>
                      <a:pt x="12" y="0"/>
                    </a:lnTo>
                    <a:lnTo>
                      <a:pt x="45" y="213"/>
                    </a:lnTo>
                    <a:lnTo>
                      <a:pt x="36" y="21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74" name="Freeform 62"/>
              <p:cNvSpPr/>
              <p:nvPr/>
            </p:nvSpPr>
            <p:spPr bwMode="auto">
              <a:xfrm>
                <a:off x="2845" y="1641"/>
                <a:ext cx="14" cy="186"/>
              </a:xfrm>
              <a:custGeom>
                <a:avLst/>
                <a:gdLst>
                  <a:gd name="T0" fmla="*/ 2 w 14"/>
                  <a:gd name="T1" fmla="*/ 186 h 186"/>
                  <a:gd name="T2" fmla="*/ 0 w 14"/>
                  <a:gd name="T3" fmla="*/ 0 h 186"/>
                  <a:gd name="T4" fmla="*/ 12 w 14"/>
                  <a:gd name="T5" fmla="*/ 0 h 186"/>
                  <a:gd name="T6" fmla="*/ 14 w 14"/>
                  <a:gd name="T7" fmla="*/ 186 h 186"/>
                  <a:gd name="T8" fmla="*/ 2 w 14"/>
                  <a:gd name="T9" fmla="*/ 186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86">
                    <a:moveTo>
                      <a:pt x="2" y="186"/>
                    </a:moveTo>
                    <a:lnTo>
                      <a:pt x="0" y="0"/>
                    </a:lnTo>
                    <a:lnTo>
                      <a:pt x="12" y="0"/>
                    </a:lnTo>
                    <a:lnTo>
                      <a:pt x="14" y="186"/>
                    </a:lnTo>
                    <a:lnTo>
                      <a:pt x="2" y="186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75" name="Freeform 63"/>
              <p:cNvSpPr/>
              <p:nvPr/>
            </p:nvSpPr>
            <p:spPr bwMode="auto">
              <a:xfrm>
                <a:off x="2833" y="1350"/>
                <a:ext cx="24" cy="293"/>
              </a:xfrm>
              <a:custGeom>
                <a:avLst/>
                <a:gdLst>
                  <a:gd name="T0" fmla="*/ 12 w 24"/>
                  <a:gd name="T1" fmla="*/ 293 h 293"/>
                  <a:gd name="T2" fmla="*/ 0 w 24"/>
                  <a:gd name="T3" fmla="*/ 3 h 293"/>
                  <a:gd name="T4" fmla="*/ 12 w 24"/>
                  <a:gd name="T5" fmla="*/ 0 h 293"/>
                  <a:gd name="T6" fmla="*/ 24 w 24"/>
                  <a:gd name="T7" fmla="*/ 293 h 293"/>
                  <a:gd name="T8" fmla="*/ 12 w 24"/>
                  <a:gd name="T9" fmla="*/ 293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93">
                    <a:moveTo>
                      <a:pt x="12" y="293"/>
                    </a:moveTo>
                    <a:lnTo>
                      <a:pt x="0" y="3"/>
                    </a:lnTo>
                    <a:lnTo>
                      <a:pt x="12" y="0"/>
                    </a:lnTo>
                    <a:lnTo>
                      <a:pt x="24" y="293"/>
                    </a:lnTo>
                    <a:lnTo>
                      <a:pt x="12" y="293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76" name="Freeform 64"/>
              <p:cNvSpPr/>
              <p:nvPr/>
            </p:nvSpPr>
            <p:spPr bwMode="auto">
              <a:xfrm>
                <a:off x="2855" y="1631"/>
                <a:ext cx="141" cy="22"/>
              </a:xfrm>
              <a:custGeom>
                <a:avLst/>
                <a:gdLst>
                  <a:gd name="T0" fmla="*/ 0 w 141"/>
                  <a:gd name="T1" fmla="*/ 22 h 22"/>
                  <a:gd name="T2" fmla="*/ 0 w 141"/>
                  <a:gd name="T3" fmla="*/ 10 h 22"/>
                  <a:gd name="T4" fmla="*/ 141 w 141"/>
                  <a:gd name="T5" fmla="*/ 0 h 22"/>
                  <a:gd name="T6" fmla="*/ 141 w 141"/>
                  <a:gd name="T7" fmla="*/ 12 h 22"/>
                  <a:gd name="T8" fmla="*/ 0 w 141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1" h="22">
                    <a:moveTo>
                      <a:pt x="0" y="22"/>
                    </a:moveTo>
                    <a:lnTo>
                      <a:pt x="0" y="10"/>
                    </a:lnTo>
                    <a:lnTo>
                      <a:pt x="141" y="0"/>
                    </a:lnTo>
                    <a:lnTo>
                      <a:pt x="141" y="1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77" name="Freeform 65"/>
              <p:cNvSpPr/>
              <p:nvPr/>
            </p:nvSpPr>
            <p:spPr bwMode="auto">
              <a:xfrm>
                <a:off x="2649" y="1643"/>
                <a:ext cx="206" cy="140"/>
              </a:xfrm>
              <a:custGeom>
                <a:avLst/>
                <a:gdLst>
                  <a:gd name="T0" fmla="*/ 7 w 206"/>
                  <a:gd name="T1" fmla="*/ 140 h 140"/>
                  <a:gd name="T2" fmla="*/ 0 w 206"/>
                  <a:gd name="T3" fmla="*/ 130 h 140"/>
                  <a:gd name="T4" fmla="*/ 198 w 206"/>
                  <a:gd name="T5" fmla="*/ 0 h 140"/>
                  <a:gd name="T6" fmla="*/ 206 w 206"/>
                  <a:gd name="T7" fmla="*/ 10 h 140"/>
                  <a:gd name="T8" fmla="*/ 7 w 206"/>
                  <a:gd name="T9" fmla="*/ 14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140">
                    <a:moveTo>
                      <a:pt x="7" y="140"/>
                    </a:moveTo>
                    <a:lnTo>
                      <a:pt x="0" y="130"/>
                    </a:lnTo>
                    <a:lnTo>
                      <a:pt x="198" y="0"/>
                    </a:lnTo>
                    <a:lnTo>
                      <a:pt x="206" y="10"/>
                    </a:lnTo>
                    <a:lnTo>
                      <a:pt x="7" y="14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78" name="Freeform 66"/>
              <p:cNvSpPr/>
              <p:nvPr/>
            </p:nvSpPr>
            <p:spPr bwMode="auto">
              <a:xfrm>
                <a:off x="2524" y="1776"/>
                <a:ext cx="134" cy="231"/>
              </a:xfrm>
              <a:custGeom>
                <a:avLst/>
                <a:gdLst>
                  <a:gd name="T0" fmla="*/ 9 w 134"/>
                  <a:gd name="T1" fmla="*/ 231 h 231"/>
                  <a:gd name="T2" fmla="*/ 0 w 134"/>
                  <a:gd name="T3" fmla="*/ 224 h 231"/>
                  <a:gd name="T4" fmla="*/ 125 w 134"/>
                  <a:gd name="T5" fmla="*/ 0 h 231"/>
                  <a:gd name="T6" fmla="*/ 134 w 134"/>
                  <a:gd name="T7" fmla="*/ 4 h 231"/>
                  <a:gd name="T8" fmla="*/ 9 w 134"/>
                  <a:gd name="T9" fmla="*/ 231 h 2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4" h="231">
                    <a:moveTo>
                      <a:pt x="9" y="231"/>
                    </a:moveTo>
                    <a:lnTo>
                      <a:pt x="0" y="224"/>
                    </a:lnTo>
                    <a:lnTo>
                      <a:pt x="125" y="0"/>
                    </a:lnTo>
                    <a:lnTo>
                      <a:pt x="134" y="4"/>
                    </a:lnTo>
                    <a:lnTo>
                      <a:pt x="9" y="23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79" name="Freeform 67"/>
              <p:cNvSpPr/>
              <p:nvPr/>
            </p:nvSpPr>
            <p:spPr bwMode="auto">
              <a:xfrm>
                <a:off x="2526" y="1825"/>
                <a:ext cx="329" cy="177"/>
              </a:xfrm>
              <a:custGeom>
                <a:avLst/>
                <a:gdLst>
                  <a:gd name="T0" fmla="*/ 5 w 329"/>
                  <a:gd name="T1" fmla="*/ 177 h 177"/>
                  <a:gd name="T2" fmla="*/ 0 w 329"/>
                  <a:gd name="T3" fmla="*/ 168 h 177"/>
                  <a:gd name="T4" fmla="*/ 324 w 329"/>
                  <a:gd name="T5" fmla="*/ 0 h 177"/>
                  <a:gd name="T6" fmla="*/ 329 w 329"/>
                  <a:gd name="T7" fmla="*/ 10 h 177"/>
                  <a:gd name="T8" fmla="*/ 5 w 329"/>
                  <a:gd name="T9" fmla="*/ 177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9" h="177">
                    <a:moveTo>
                      <a:pt x="5" y="177"/>
                    </a:moveTo>
                    <a:lnTo>
                      <a:pt x="0" y="168"/>
                    </a:lnTo>
                    <a:lnTo>
                      <a:pt x="324" y="0"/>
                    </a:lnTo>
                    <a:lnTo>
                      <a:pt x="329" y="10"/>
                    </a:lnTo>
                    <a:lnTo>
                      <a:pt x="5" y="177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80" name="Freeform 68"/>
              <p:cNvSpPr/>
              <p:nvPr/>
            </p:nvSpPr>
            <p:spPr bwMode="auto">
              <a:xfrm>
                <a:off x="2649" y="1773"/>
                <a:ext cx="83" cy="255"/>
              </a:xfrm>
              <a:custGeom>
                <a:avLst/>
                <a:gdLst>
                  <a:gd name="T0" fmla="*/ 73 w 83"/>
                  <a:gd name="T1" fmla="*/ 255 h 255"/>
                  <a:gd name="T2" fmla="*/ 0 w 83"/>
                  <a:gd name="T3" fmla="*/ 5 h 255"/>
                  <a:gd name="T4" fmla="*/ 12 w 83"/>
                  <a:gd name="T5" fmla="*/ 0 h 255"/>
                  <a:gd name="T6" fmla="*/ 83 w 83"/>
                  <a:gd name="T7" fmla="*/ 251 h 255"/>
                  <a:gd name="T8" fmla="*/ 73 w 83"/>
                  <a:gd name="T9" fmla="*/ 255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255">
                    <a:moveTo>
                      <a:pt x="73" y="255"/>
                    </a:moveTo>
                    <a:lnTo>
                      <a:pt x="0" y="5"/>
                    </a:lnTo>
                    <a:lnTo>
                      <a:pt x="12" y="0"/>
                    </a:lnTo>
                    <a:lnTo>
                      <a:pt x="83" y="251"/>
                    </a:lnTo>
                    <a:lnTo>
                      <a:pt x="73" y="25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81" name="Freeform 69"/>
              <p:cNvSpPr/>
              <p:nvPr/>
            </p:nvSpPr>
            <p:spPr bwMode="auto">
              <a:xfrm>
                <a:off x="2358" y="1650"/>
                <a:ext cx="175" cy="350"/>
              </a:xfrm>
              <a:custGeom>
                <a:avLst/>
                <a:gdLst>
                  <a:gd name="T0" fmla="*/ 163 w 175"/>
                  <a:gd name="T1" fmla="*/ 350 h 350"/>
                  <a:gd name="T2" fmla="*/ 0 w 175"/>
                  <a:gd name="T3" fmla="*/ 5 h 350"/>
                  <a:gd name="T4" fmla="*/ 10 w 175"/>
                  <a:gd name="T5" fmla="*/ 0 h 350"/>
                  <a:gd name="T6" fmla="*/ 175 w 175"/>
                  <a:gd name="T7" fmla="*/ 345 h 350"/>
                  <a:gd name="T8" fmla="*/ 163 w 175"/>
                  <a:gd name="T9" fmla="*/ 350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5" h="350">
                    <a:moveTo>
                      <a:pt x="163" y="350"/>
                    </a:moveTo>
                    <a:lnTo>
                      <a:pt x="0" y="5"/>
                    </a:lnTo>
                    <a:lnTo>
                      <a:pt x="10" y="0"/>
                    </a:lnTo>
                    <a:lnTo>
                      <a:pt x="175" y="345"/>
                    </a:lnTo>
                    <a:lnTo>
                      <a:pt x="163" y="35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82" name="Freeform 70"/>
              <p:cNvSpPr/>
              <p:nvPr/>
            </p:nvSpPr>
            <p:spPr bwMode="auto">
              <a:xfrm>
                <a:off x="2283" y="1289"/>
                <a:ext cx="85" cy="366"/>
              </a:xfrm>
              <a:custGeom>
                <a:avLst/>
                <a:gdLst>
                  <a:gd name="T0" fmla="*/ 73 w 85"/>
                  <a:gd name="T1" fmla="*/ 366 h 366"/>
                  <a:gd name="T2" fmla="*/ 0 w 85"/>
                  <a:gd name="T3" fmla="*/ 2 h 366"/>
                  <a:gd name="T4" fmla="*/ 11 w 85"/>
                  <a:gd name="T5" fmla="*/ 0 h 366"/>
                  <a:gd name="T6" fmla="*/ 85 w 85"/>
                  <a:gd name="T7" fmla="*/ 366 h 366"/>
                  <a:gd name="T8" fmla="*/ 73 w 85"/>
                  <a:gd name="T9" fmla="*/ 36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" h="366">
                    <a:moveTo>
                      <a:pt x="73" y="366"/>
                    </a:moveTo>
                    <a:lnTo>
                      <a:pt x="0" y="2"/>
                    </a:lnTo>
                    <a:lnTo>
                      <a:pt x="11" y="0"/>
                    </a:lnTo>
                    <a:lnTo>
                      <a:pt x="85" y="366"/>
                    </a:lnTo>
                    <a:lnTo>
                      <a:pt x="73" y="366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83" name="Freeform 71"/>
              <p:cNvSpPr/>
              <p:nvPr/>
            </p:nvSpPr>
            <p:spPr bwMode="auto">
              <a:xfrm>
                <a:off x="2285" y="1289"/>
                <a:ext cx="168" cy="139"/>
              </a:xfrm>
              <a:custGeom>
                <a:avLst/>
                <a:gdLst>
                  <a:gd name="T0" fmla="*/ 161 w 168"/>
                  <a:gd name="T1" fmla="*/ 139 h 139"/>
                  <a:gd name="T2" fmla="*/ 0 w 168"/>
                  <a:gd name="T3" fmla="*/ 7 h 139"/>
                  <a:gd name="T4" fmla="*/ 7 w 168"/>
                  <a:gd name="T5" fmla="*/ 0 h 139"/>
                  <a:gd name="T6" fmla="*/ 168 w 168"/>
                  <a:gd name="T7" fmla="*/ 130 h 139"/>
                  <a:gd name="T8" fmla="*/ 161 w 168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139">
                    <a:moveTo>
                      <a:pt x="161" y="139"/>
                    </a:moveTo>
                    <a:lnTo>
                      <a:pt x="0" y="7"/>
                    </a:lnTo>
                    <a:lnTo>
                      <a:pt x="7" y="0"/>
                    </a:lnTo>
                    <a:lnTo>
                      <a:pt x="168" y="130"/>
                    </a:lnTo>
                    <a:lnTo>
                      <a:pt x="161" y="13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84" name="Freeform 72"/>
              <p:cNvSpPr/>
              <p:nvPr/>
            </p:nvSpPr>
            <p:spPr bwMode="auto">
              <a:xfrm>
                <a:off x="2356" y="1423"/>
                <a:ext cx="99" cy="227"/>
              </a:xfrm>
              <a:custGeom>
                <a:avLst/>
                <a:gdLst>
                  <a:gd name="T0" fmla="*/ 9 w 99"/>
                  <a:gd name="T1" fmla="*/ 227 h 227"/>
                  <a:gd name="T2" fmla="*/ 0 w 99"/>
                  <a:gd name="T3" fmla="*/ 223 h 227"/>
                  <a:gd name="T4" fmla="*/ 90 w 99"/>
                  <a:gd name="T5" fmla="*/ 0 h 227"/>
                  <a:gd name="T6" fmla="*/ 99 w 99"/>
                  <a:gd name="T7" fmla="*/ 5 h 227"/>
                  <a:gd name="T8" fmla="*/ 9 w 99"/>
                  <a:gd name="T9" fmla="*/ 227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9" h="227">
                    <a:moveTo>
                      <a:pt x="9" y="227"/>
                    </a:moveTo>
                    <a:lnTo>
                      <a:pt x="0" y="223"/>
                    </a:lnTo>
                    <a:lnTo>
                      <a:pt x="90" y="0"/>
                    </a:lnTo>
                    <a:lnTo>
                      <a:pt x="99" y="5"/>
                    </a:lnTo>
                    <a:lnTo>
                      <a:pt x="9" y="227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85" name="Freeform 73"/>
              <p:cNvSpPr/>
              <p:nvPr/>
            </p:nvSpPr>
            <p:spPr bwMode="auto">
              <a:xfrm>
                <a:off x="2446" y="1419"/>
                <a:ext cx="179" cy="106"/>
              </a:xfrm>
              <a:custGeom>
                <a:avLst/>
                <a:gdLst>
                  <a:gd name="T0" fmla="*/ 175 w 179"/>
                  <a:gd name="T1" fmla="*/ 106 h 106"/>
                  <a:gd name="T2" fmla="*/ 0 w 179"/>
                  <a:gd name="T3" fmla="*/ 9 h 106"/>
                  <a:gd name="T4" fmla="*/ 4 w 179"/>
                  <a:gd name="T5" fmla="*/ 0 h 106"/>
                  <a:gd name="T6" fmla="*/ 179 w 179"/>
                  <a:gd name="T7" fmla="*/ 97 h 106"/>
                  <a:gd name="T8" fmla="*/ 175 w 179"/>
                  <a:gd name="T9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106">
                    <a:moveTo>
                      <a:pt x="175" y="106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179" y="97"/>
                    </a:lnTo>
                    <a:lnTo>
                      <a:pt x="175" y="106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86" name="Freeform 74"/>
              <p:cNvSpPr/>
              <p:nvPr/>
            </p:nvSpPr>
            <p:spPr bwMode="auto">
              <a:xfrm>
                <a:off x="2613" y="1518"/>
                <a:ext cx="43" cy="262"/>
              </a:xfrm>
              <a:custGeom>
                <a:avLst/>
                <a:gdLst>
                  <a:gd name="T0" fmla="*/ 34 w 43"/>
                  <a:gd name="T1" fmla="*/ 262 h 262"/>
                  <a:gd name="T2" fmla="*/ 0 w 43"/>
                  <a:gd name="T3" fmla="*/ 2 h 262"/>
                  <a:gd name="T4" fmla="*/ 12 w 43"/>
                  <a:gd name="T5" fmla="*/ 0 h 262"/>
                  <a:gd name="T6" fmla="*/ 43 w 43"/>
                  <a:gd name="T7" fmla="*/ 260 h 262"/>
                  <a:gd name="T8" fmla="*/ 34 w 43"/>
                  <a:gd name="T9" fmla="*/ 262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3" h="262">
                    <a:moveTo>
                      <a:pt x="34" y="262"/>
                    </a:moveTo>
                    <a:lnTo>
                      <a:pt x="0" y="2"/>
                    </a:lnTo>
                    <a:lnTo>
                      <a:pt x="12" y="0"/>
                    </a:lnTo>
                    <a:lnTo>
                      <a:pt x="43" y="260"/>
                    </a:lnTo>
                    <a:lnTo>
                      <a:pt x="34" y="262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87" name="Freeform 75"/>
              <p:cNvSpPr/>
              <p:nvPr/>
            </p:nvSpPr>
            <p:spPr bwMode="auto">
              <a:xfrm>
                <a:off x="2621" y="1516"/>
                <a:ext cx="231" cy="134"/>
              </a:xfrm>
              <a:custGeom>
                <a:avLst/>
                <a:gdLst>
                  <a:gd name="T0" fmla="*/ 226 w 231"/>
                  <a:gd name="T1" fmla="*/ 134 h 134"/>
                  <a:gd name="T2" fmla="*/ 0 w 231"/>
                  <a:gd name="T3" fmla="*/ 9 h 134"/>
                  <a:gd name="T4" fmla="*/ 4 w 231"/>
                  <a:gd name="T5" fmla="*/ 0 h 134"/>
                  <a:gd name="T6" fmla="*/ 231 w 231"/>
                  <a:gd name="T7" fmla="*/ 125 h 134"/>
                  <a:gd name="T8" fmla="*/ 226 w 231"/>
                  <a:gd name="T9" fmla="*/ 13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1" h="134">
                    <a:moveTo>
                      <a:pt x="226" y="134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231" y="125"/>
                    </a:lnTo>
                    <a:lnTo>
                      <a:pt x="226" y="13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88" name="Freeform 76"/>
              <p:cNvSpPr/>
              <p:nvPr/>
            </p:nvSpPr>
            <p:spPr bwMode="auto">
              <a:xfrm>
                <a:off x="2595" y="1383"/>
                <a:ext cx="33" cy="140"/>
              </a:xfrm>
              <a:custGeom>
                <a:avLst/>
                <a:gdLst>
                  <a:gd name="T0" fmla="*/ 21 w 33"/>
                  <a:gd name="T1" fmla="*/ 140 h 140"/>
                  <a:gd name="T2" fmla="*/ 0 w 33"/>
                  <a:gd name="T3" fmla="*/ 0 h 140"/>
                  <a:gd name="T4" fmla="*/ 9 w 33"/>
                  <a:gd name="T5" fmla="*/ 0 h 140"/>
                  <a:gd name="T6" fmla="*/ 33 w 33"/>
                  <a:gd name="T7" fmla="*/ 137 h 140"/>
                  <a:gd name="T8" fmla="*/ 21 w 33"/>
                  <a:gd name="T9" fmla="*/ 14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40">
                    <a:moveTo>
                      <a:pt x="21" y="140"/>
                    </a:moveTo>
                    <a:lnTo>
                      <a:pt x="0" y="0"/>
                    </a:lnTo>
                    <a:lnTo>
                      <a:pt x="9" y="0"/>
                    </a:lnTo>
                    <a:lnTo>
                      <a:pt x="33" y="137"/>
                    </a:lnTo>
                    <a:lnTo>
                      <a:pt x="21" y="14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89" name="Freeform 77"/>
              <p:cNvSpPr/>
              <p:nvPr/>
            </p:nvSpPr>
            <p:spPr bwMode="auto">
              <a:xfrm>
                <a:off x="2361" y="1513"/>
                <a:ext cx="262" cy="135"/>
              </a:xfrm>
              <a:custGeom>
                <a:avLst/>
                <a:gdLst>
                  <a:gd name="T0" fmla="*/ 4 w 262"/>
                  <a:gd name="T1" fmla="*/ 135 h 135"/>
                  <a:gd name="T2" fmla="*/ 0 w 262"/>
                  <a:gd name="T3" fmla="*/ 125 h 135"/>
                  <a:gd name="T4" fmla="*/ 257 w 262"/>
                  <a:gd name="T5" fmla="*/ 0 h 135"/>
                  <a:gd name="T6" fmla="*/ 262 w 262"/>
                  <a:gd name="T7" fmla="*/ 10 h 135"/>
                  <a:gd name="T8" fmla="*/ 4 w 262"/>
                  <a:gd name="T9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135">
                    <a:moveTo>
                      <a:pt x="4" y="135"/>
                    </a:moveTo>
                    <a:lnTo>
                      <a:pt x="0" y="125"/>
                    </a:lnTo>
                    <a:lnTo>
                      <a:pt x="257" y="0"/>
                    </a:lnTo>
                    <a:lnTo>
                      <a:pt x="262" y="10"/>
                    </a:lnTo>
                    <a:lnTo>
                      <a:pt x="4" y="13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90" name="Freeform 78"/>
              <p:cNvSpPr/>
              <p:nvPr/>
            </p:nvSpPr>
            <p:spPr bwMode="auto">
              <a:xfrm>
                <a:off x="2361" y="1641"/>
                <a:ext cx="290" cy="135"/>
              </a:xfrm>
              <a:custGeom>
                <a:avLst/>
                <a:gdLst>
                  <a:gd name="T0" fmla="*/ 288 w 290"/>
                  <a:gd name="T1" fmla="*/ 135 h 135"/>
                  <a:gd name="T2" fmla="*/ 0 w 290"/>
                  <a:gd name="T3" fmla="*/ 9 h 135"/>
                  <a:gd name="T4" fmla="*/ 4 w 290"/>
                  <a:gd name="T5" fmla="*/ 0 h 135"/>
                  <a:gd name="T6" fmla="*/ 290 w 290"/>
                  <a:gd name="T7" fmla="*/ 125 h 135"/>
                  <a:gd name="T8" fmla="*/ 288 w 290"/>
                  <a:gd name="T9" fmla="*/ 135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0" h="135">
                    <a:moveTo>
                      <a:pt x="288" y="135"/>
                    </a:moveTo>
                    <a:lnTo>
                      <a:pt x="0" y="9"/>
                    </a:lnTo>
                    <a:lnTo>
                      <a:pt x="4" y="0"/>
                    </a:lnTo>
                    <a:lnTo>
                      <a:pt x="290" y="125"/>
                    </a:lnTo>
                    <a:lnTo>
                      <a:pt x="288" y="13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91" name="Freeform 79"/>
              <p:cNvSpPr/>
              <p:nvPr/>
            </p:nvSpPr>
            <p:spPr bwMode="auto">
              <a:xfrm>
                <a:off x="2656" y="1731"/>
                <a:ext cx="619" cy="52"/>
              </a:xfrm>
              <a:custGeom>
                <a:avLst/>
                <a:gdLst>
                  <a:gd name="T0" fmla="*/ 0 w 619"/>
                  <a:gd name="T1" fmla="*/ 52 h 52"/>
                  <a:gd name="T2" fmla="*/ 0 w 619"/>
                  <a:gd name="T3" fmla="*/ 40 h 52"/>
                  <a:gd name="T4" fmla="*/ 619 w 619"/>
                  <a:gd name="T5" fmla="*/ 0 h 52"/>
                  <a:gd name="T6" fmla="*/ 619 w 619"/>
                  <a:gd name="T7" fmla="*/ 11 h 52"/>
                  <a:gd name="T8" fmla="*/ 0 w 619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9" h="52">
                    <a:moveTo>
                      <a:pt x="0" y="52"/>
                    </a:moveTo>
                    <a:lnTo>
                      <a:pt x="0" y="40"/>
                    </a:lnTo>
                    <a:lnTo>
                      <a:pt x="619" y="0"/>
                    </a:lnTo>
                    <a:lnTo>
                      <a:pt x="619" y="11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92" name="Freeform 80"/>
              <p:cNvSpPr/>
              <p:nvPr/>
            </p:nvSpPr>
            <p:spPr bwMode="auto">
              <a:xfrm>
                <a:off x="3145" y="1475"/>
                <a:ext cx="258" cy="123"/>
              </a:xfrm>
              <a:custGeom>
                <a:avLst/>
                <a:gdLst>
                  <a:gd name="T0" fmla="*/ 5 w 258"/>
                  <a:gd name="T1" fmla="*/ 123 h 123"/>
                  <a:gd name="T2" fmla="*/ 0 w 258"/>
                  <a:gd name="T3" fmla="*/ 114 h 123"/>
                  <a:gd name="T4" fmla="*/ 253 w 258"/>
                  <a:gd name="T5" fmla="*/ 0 h 123"/>
                  <a:gd name="T6" fmla="*/ 258 w 258"/>
                  <a:gd name="T7" fmla="*/ 10 h 123"/>
                  <a:gd name="T8" fmla="*/ 5 w 258"/>
                  <a:gd name="T9" fmla="*/ 123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8" h="123">
                    <a:moveTo>
                      <a:pt x="5" y="123"/>
                    </a:moveTo>
                    <a:lnTo>
                      <a:pt x="0" y="114"/>
                    </a:lnTo>
                    <a:lnTo>
                      <a:pt x="253" y="0"/>
                    </a:lnTo>
                    <a:lnTo>
                      <a:pt x="258" y="10"/>
                    </a:lnTo>
                    <a:lnTo>
                      <a:pt x="5" y="123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93" name="Freeform 81"/>
              <p:cNvSpPr/>
              <p:nvPr/>
            </p:nvSpPr>
            <p:spPr bwMode="auto">
              <a:xfrm>
                <a:off x="2994" y="1589"/>
                <a:ext cx="156" cy="52"/>
              </a:xfrm>
              <a:custGeom>
                <a:avLst/>
                <a:gdLst>
                  <a:gd name="T0" fmla="*/ 2 w 156"/>
                  <a:gd name="T1" fmla="*/ 52 h 52"/>
                  <a:gd name="T2" fmla="*/ 0 w 156"/>
                  <a:gd name="T3" fmla="*/ 40 h 52"/>
                  <a:gd name="T4" fmla="*/ 154 w 156"/>
                  <a:gd name="T5" fmla="*/ 0 h 52"/>
                  <a:gd name="T6" fmla="*/ 156 w 156"/>
                  <a:gd name="T7" fmla="*/ 9 h 52"/>
                  <a:gd name="T8" fmla="*/ 2 w 156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6" h="52">
                    <a:moveTo>
                      <a:pt x="2" y="52"/>
                    </a:moveTo>
                    <a:lnTo>
                      <a:pt x="0" y="40"/>
                    </a:lnTo>
                    <a:lnTo>
                      <a:pt x="154" y="0"/>
                    </a:lnTo>
                    <a:lnTo>
                      <a:pt x="156" y="9"/>
                    </a:lnTo>
                    <a:lnTo>
                      <a:pt x="2" y="52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94" name="Freeform 82"/>
              <p:cNvSpPr/>
              <p:nvPr/>
            </p:nvSpPr>
            <p:spPr bwMode="auto">
              <a:xfrm>
                <a:off x="3379" y="1152"/>
                <a:ext cx="26" cy="328"/>
              </a:xfrm>
              <a:custGeom>
                <a:avLst/>
                <a:gdLst>
                  <a:gd name="T0" fmla="*/ 14 w 26"/>
                  <a:gd name="T1" fmla="*/ 328 h 328"/>
                  <a:gd name="T2" fmla="*/ 0 w 26"/>
                  <a:gd name="T3" fmla="*/ 0 h 328"/>
                  <a:gd name="T4" fmla="*/ 12 w 26"/>
                  <a:gd name="T5" fmla="*/ 0 h 328"/>
                  <a:gd name="T6" fmla="*/ 26 w 26"/>
                  <a:gd name="T7" fmla="*/ 328 h 328"/>
                  <a:gd name="T8" fmla="*/ 14 w 26"/>
                  <a:gd name="T9" fmla="*/ 32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328">
                    <a:moveTo>
                      <a:pt x="14" y="328"/>
                    </a:moveTo>
                    <a:lnTo>
                      <a:pt x="0" y="0"/>
                    </a:lnTo>
                    <a:lnTo>
                      <a:pt x="12" y="0"/>
                    </a:lnTo>
                    <a:lnTo>
                      <a:pt x="26" y="328"/>
                    </a:lnTo>
                    <a:lnTo>
                      <a:pt x="14" y="32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95" name="Freeform 83"/>
              <p:cNvSpPr/>
              <p:nvPr/>
            </p:nvSpPr>
            <p:spPr bwMode="auto">
              <a:xfrm>
                <a:off x="3202" y="944"/>
                <a:ext cx="187" cy="212"/>
              </a:xfrm>
              <a:custGeom>
                <a:avLst/>
                <a:gdLst>
                  <a:gd name="T0" fmla="*/ 179 w 187"/>
                  <a:gd name="T1" fmla="*/ 212 h 212"/>
                  <a:gd name="T2" fmla="*/ 0 w 187"/>
                  <a:gd name="T3" fmla="*/ 7 h 212"/>
                  <a:gd name="T4" fmla="*/ 9 w 187"/>
                  <a:gd name="T5" fmla="*/ 0 h 212"/>
                  <a:gd name="T6" fmla="*/ 187 w 187"/>
                  <a:gd name="T7" fmla="*/ 205 h 212"/>
                  <a:gd name="T8" fmla="*/ 179 w 187"/>
                  <a:gd name="T9" fmla="*/ 2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7" h="212">
                    <a:moveTo>
                      <a:pt x="179" y="212"/>
                    </a:moveTo>
                    <a:lnTo>
                      <a:pt x="0" y="7"/>
                    </a:lnTo>
                    <a:lnTo>
                      <a:pt x="9" y="0"/>
                    </a:lnTo>
                    <a:lnTo>
                      <a:pt x="187" y="205"/>
                    </a:lnTo>
                    <a:lnTo>
                      <a:pt x="179" y="212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96" name="Freeform 84"/>
              <p:cNvSpPr/>
              <p:nvPr/>
            </p:nvSpPr>
            <p:spPr bwMode="auto">
              <a:xfrm>
                <a:off x="3237" y="1149"/>
                <a:ext cx="149" cy="119"/>
              </a:xfrm>
              <a:custGeom>
                <a:avLst/>
                <a:gdLst>
                  <a:gd name="T0" fmla="*/ 7 w 149"/>
                  <a:gd name="T1" fmla="*/ 119 h 119"/>
                  <a:gd name="T2" fmla="*/ 0 w 149"/>
                  <a:gd name="T3" fmla="*/ 109 h 119"/>
                  <a:gd name="T4" fmla="*/ 142 w 149"/>
                  <a:gd name="T5" fmla="*/ 0 h 119"/>
                  <a:gd name="T6" fmla="*/ 149 w 149"/>
                  <a:gd name="T7" fmla="*/ 10 h 119"/>
                  <a:gd name="T8" fmla="*/ 7 w 149"/>
                  <a:gd name="T9" fmla="*/ 11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119">
                    <a:moveTo>
                      <a:pt x="7" y="119"/>
                    </a:moveTo>
                    <a:lnTo>
                      <a:pt x="0" y="109"/>
                    </a:lnTo>
                    <a:lnTo>
                      <a:pt x="142" y="0"/>
                    </a:lnTo>
                    <a:lnTo>
                      <a:pt x="149" y="10"/>
                    </a:lnTo>
                    <a:lnTo>
                      <a:pt x="7" y="11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97" name="Freeform 85"/>
              <p:cNvSpPr/>
              <p:nvPr/>
            </p:nvSpPr>
            <p:spPr bwMode="auto">
              <a:xfrm>
                <a:off x="3086" y="1258"/>
                <a:ext cx="161" cy="137"/>
              </a:xfrm>
              <a:custGeom>
                <a:avLst/>
                <a:gdLst>
                  <a:gd name="T0" fmla="*/ 7 w 161"/>
                  <a:gd name="T1" fmla="*/ 137 h 137"/>
                  <a:gd name="T2" fmla="*/ 0 w 161"/>
                  <a:gd name="T3" fmla="*/ 130 h 137"/>
                  <a:gd name="T4" fmla="*/ 154 w 161"/>
                  <a:gd name="T5" fmla="*/ 0 h 137"/>
                  <a:gd name="T6" fmla="*/ 161 w 161"/>
                  <a:gd name="T7" fmla="*/ 10 h 137"/>
                  <a:gd name="T8" fmla="*/ 7 w 161"/>
                  <a:gd name="T9" fmla="*/ 137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1" h="137">
                    <a:moveTo>
                      <a:pt x="7" y="137"/>
                    </a:moveTo>
                    <a:lnTo>
                      <a:pt x="0" y="130"/>
                    </a:lnTo>
                    <a:lnTo>
                      <a:pt x="154" y="0"/>
                    </a:lnTo>
                    <a:lnTo>
                      <a:pt x="161" y="10"/>
                    </a:lnTo>
                    <a:lnTo>
                      <a:pt x="7" y="137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98" name="Freeform 86"/>
              <p:cNvSpPr/>
              <p:nvPr/>
            </p:nvSpPr>
            <p:spPr bwMode="auto">
              <a:xfrm>
                <a:off x="2838" y="1353"/>
                <a:ext cx="255" cy="42"/>
              </a:xfrm>
              <a:custGeom>
                <a:avLst/>
                <a:gdLst>
                  <a:gd name="T0" fmla="*/ 253 w 255"/>
                  <a:gd name="T1" fmla="*/ 42 h 42"/>
                  <a:gd name="T2" fmla="*/ 0 w 255"/>
                  <a:gd name="T3" fmla="*/ 9 h 42"/>
                  <a:gd name="T4" fmla="*/ 2 w 255"/>
                  <a:gd name="T5" fmla="*/ 0 h 42"/>
                  <a:gd name="T6" fmla="*/ 255 w 255"/>
                  <a:gd name="T7" fmla="*/ 33 h 42"/>
                  <a:gd name="T8" fmla="*/ 253 w 255"/>
                  <a:gd name="T9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42">
                    <a:moveTo>
                      <a:pt x="253" y="42"/>
                    </a:moveTo>
                    <a:lnTo>
                      <a:pt x="0" y="9"/>
                    </a:lnTo>
                    <a:lnTo>
                      <a:pt x="2" y="0"/>
                    </a:lnTo>
                    <a:lnTo>
                      <a:pt x="255" y="33"/>
                    </a:lnTo>
                    <a:lnTo>
                      <a:pt x="253" y="42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99" name="Freeform 87"/>
              <p:cNvSpPr/>
              <p:nvPr/>
            </p:nvSpPr>
            <p:spPr bwMode="auto">
              <a:xfrm>
                <a:off x="2599" y="1355"/>
                <a:ext cx="239" cy="33"/>
              </a:xfrm>
              <a:custGeom>
                <a:avLst/>
                <a:gdLst>
                  <a:gd name="T0" fmla="*/ 0 w 239"/>
                  <a:gd name="T1" fmla="*/ 33 h 33"/>
                  <a:gd name="T2" fmla="*/ 0 w 239"/>
                  <a:gd name="T3" fmla="*/ 24 h 33"/>
                  <a:gd name="T4" fmla="*/ 239 w 239"/>
                  <a:gd name="T5" fmla="*/ 0 h 33"/>
                  <a:gd name="T6" fmla="*/ 239 w 239"/>
                  <a:gd name="T7" fmla="*/ 12 h 33"/>
                  <a:gd name="T8" fmla="*/ 0 w 239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9" h="33">
                    <a:moveTo>
                      <a:pt x="0" y="33"/>
                    </a:moveTo>
                    <a:lnTo>
                      <a:pt x="0" y="24"/>
                    </a:lnTo>
                    <a:lnTo>
                      <a:pt x="239" y="0"/>
                    </a:lnTo>
                    <a:lnTo>
                      <a:pt x="239" y="12"/>
                    </a:lnTo>
                    <a:lnTo>
                      <a:pt x="0" y="33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00" name="Freeform 88"/>
              <p:cNvSpPr/>
              <p:nvPr/>
            </p:nvSpPr>
            <p:spPr bwMode="auto">
              <a:xfrm>
                <a:off x="2287" y="1286"/>
                <a:ext cx="315" cy="104"/>
              </a:xfrm>
              <a:custGeom>
                <a:avLst/>
                <a:gdLst>
                  <a:gd name="T0" fmla="*/ 310 w 315"/>
                  <a:gd name="T1" fmla="*/ 104 h 104"/>
                  <a:gd name="T2" fmla="*/ 0 w 315"/>
                  <a:gd name="T3" fmla="*/ 10 h 104"/>
                  <a:gd name="T4" fmla="*/ 5 w 315"/>
                  <a:gd name="T5" fmla="*/ 0 h 104"/>
                  <a:gd name="T6" fmla="*/ 315 w 315"/>
                  <a:gd name="T7" fmla="*/ 95 h 104"/>
                  <a:gd name="T8" fmla="*/ 310 w 315"/>
                  <a:gd name="T9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5" h="104">
                    <a:moveTo>
                      <a:pt x="310" y="104"/>
                    </a:moveTo>
                    <a:lnTo>
                      <a:pt x="0" y="10"/>
                    </a:lnTo>
                    <a:lnTo>
                      <a:pt x="5" y="0"/>
                    </a:lnTo>
                    <a:lnTo>
                      <a:pt x="315" y="95"/>
                    </a:lnTo>
                    <a:lnTo>
                      <a:pt x="310" y="10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01" name="Freeform 89"/>
              <p:cNvSpPr/>
              <p:nvPr/>
            </p:nvSpPr>
            <p:spPr bwMode="auto">
              <a:xfrm>
                <a:off x="2448" y="1383"/>
                <a:ext cx="149" cy="48"/>
              </a:xfrm>
              <a:custGeom>
                <a:avLst/>
                <a:gdLst>
                  <a:gd name="T0" fmla="*/ 5 w 149"/>
                  <a:gd name="T1" fmla="*/ 48 h 48"/>
                  <a:gd name="T2" fmla="*/ 0 w 149"/>
                  <a:gd name="T3" fmla="*/ 36 h 48"/>
                  <a:gd name="T4" fmla="*/ 147 w 149"/>
                  <a:gd name="T5" fmla="*/ 0 h 48"/>
                  <a:gd name="T6" fmla="*/ 149 w 149"/>
                  <a:gd name="T7" fmla="*/ 10 h 48"/>
                  <a:gd name="T8" fmla="*/ 5 w 149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9" h="48">
                    <a:moveTo>
                      <a:pt x="5" y="48"/>
                    </a:moveTo>
                    <a:lnTo>
                      <a:pt x="0" y="36"/>
                    </a:lnTo>
                    <a:lnTo>
                      <a:pt x="147" y="0"/>
                    </a:lnTo>
                    <a:lnTo>
                      <a:pt x="149" y="10"/>
                    </a:lnTo>
                    <a:lnTo>
                      <a:pt x="5" y="4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02" name="Freeform 90"/>
              <p:cNvSpPr/>
              <p:nvPr/>
            </p:nvSpPr>
            <p:spPr bwMode="auto">
              <a:xfrm>
                <a:off x="2618" y="1386"/>
                <a:ext cx="473" cy="132"/>
              </a:xfrm>
              <a:custGeom>
                <a:avLst/>
                <a:gdLst>
                  <a:gd name="T0" fmla="*/ 0 w 200"/>
                  <a:gd name="T1" fmla="*/ 56 h 56"/>
                  <a:gd name="T2" fmla="*/ 0 w 200"/>
                  <a:gd name="T3" fmla="*/ 56 h 56"/>
                  <a:gd name="T4" fmla="*/ 1 w 200"/>
                  <a:gd name="T5" fmla="*/ 54 h 56"/>
                  <a:gd name="T6" fmla="*/ 1 w 200"/>
                  <a:gd name="T7" fmla="*/ 52 h 56"/>
                  <a:gd name="T8" fmla="*/ 199 w 200"/>
                  <a:gd name="T9" fmla="*/ 0 h 56"/>
                  <a:gd name="T10" fmla="*/ 200 w 200"/>
                  <a:gd name="T11" fmla="*/ 4 h 56"/>
                  <a:gd name="T12" fmla="*/ 0 w 200"/>
                  <a:gd name="T13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0" h="56">
                    <a:moveTo>
                      <a:pt x="0" y="56"/>
                    </a:moveTo>
                    <a:cubicBezTo>
                      <a:pt x="0" y="56"/>
                      <a:pt x="0" y="56"/>
                      <a:pt x="0" y="56"/>
                    </a:cubicBezTo>
                    <a:cubicBezTo>
                      <a:pt x="1" y="54"/>
                      <a:pt x="1" y="54"/>
                      <a:pt x="1" y="54"/>
                    </a:cubicBezTo>
                    <a:cubicBezTo>
                      <a:pt x="1" y="52"/>
                      <a:pt x="1" y="52"/>
                      <a:pt x="1" y="52"/>
                    </a:cubicBezTo>
                    <a:cubicBezTo>
                      <a:pt x="6" y="51"/>
                      <a:pt x="145" y="14"/>
                      <a:pt x="199" y="0"/>
                    </a:cubicBezTo>
                    <a:cubicBezTo>
                      <a:pt x="200" y="4"/>
                      <a:pt x="200" y="4"/>
                      <a:pt x="200" y="4"/>
                    </a:cubicBezTo>
                    <a:cubicBezTo>
                      <a:pt x="18" y="53"/>
                      <a:pt x="2" y="56"/>
                      <a:pt x="0" y="56"/>
                    </a:cubicBez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03" name="Freeform 91"/>
              <p:cNvSpPr/>
              <p:nvPr/>
            </p:nvSpPr>
            <p:spPr bwMode="auto">
              <a:xfrm>
                <a:off x="2618" y="1357"/>
                <a:ext cx="225" cy="163"/>
              </a:xfrm>
              <a:custGeom>
                <a:avLst/>
                <a:gdLst>
                  <a:gd name="T0" fmla="*/ 7 w 225"/>
                  <a:gd name="T1" fmla="*/ 163 h 163"/>
                  <a:gd name="T2" fmla="*/ 0 w 225"/>
                  <a:gd name="T3" fmla="*/ 154 h 163"/>
                  <a:gd name="T4" fmla="*/ 218 w 225"/>
                  <a:gd name="T5" fmla="*/ 0 h 163"/>
                  <a:gd name="T6" fmla="*/ 225 w 225"/>
                  <a:gd name="T7" fmla="*/ 10 h 163"/>
                  <a:gd name="T8" fmla="*/ 7 w 225"/>
                  <a:gd name="T9" fmla="*/ 16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5" h="163">
                    <a:moveTo>
                      <a:pt x="7" y="163"/>
                    </a:moveTo>
                    <a:lnTo>
                      <a:pt x="0" y="154"/>
                    </a:lnTo>
                    <a:lnTo>
                      <a:pt x="218" y="0"/>
                    </a:lnTo>
                    <a:lnTo>
                      <a:pt x="225" y="10"/>
                    </a:lnTo>
                    <a:lnTo>
                      <a:pt x="7" y="163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04" name="Freeform 92"/>
              <p:cNvSpPr/>
              <p:nvPr/>
            </p:nvSpPr>
            <p:spPr bwMode="auto">
              <a:xfrm>
                <a:off x="2845" y="1258"/>
                <a:ext cx="395" cy="99"/>
              </a:xfrm>
              <a:custGeom>
                <a:avLst/>
                <a:gdLst>
                  <a:gd name="T0" fmla="*/ 2 w 395"/>
                  <a:gd name="T1" fmla="*/ 99 h 99"/>
                  <a:gd name="T2" fmla="*/ 0 w 395"/>
                  <a:gd name="T3" fmla="*/ 88 h 99"/>
                  <a:gd name="T4" fmla="*/ 392 w 395"/>
                  <a:gd name="T5" fmla="*/ 0 h 99"/>
                  <a:gd name="T6" fmla="*/ 395 w 395"/>
                  <a:gd name="T7" fmla="*/ 12 h 99"/>
                  <a:gd name="T8" fmla="*/ 2 w 395"/>
                  <a:gd name="T9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5" h="99">
                    <a:moveTo>
                      <a:pt x="2" y="99"/>
                    </a:moveTo>
                    <a:lnTo>
                      <a:pt x="0" y="88"/>
                    </a:lnTo>
                    <a:lnTo>
                      <a:pt x="392" y="0"/>
                    </a:lnTo>
                    <a:lnTo>
                      <a:pt x="395" y="12"/>
                    </a:lnTo>
                    <a:lnTo>
                      <a:pt x="2" y="9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05" name="Freeform 93"/>
              <p:cNvSpPr/>
              <p:nvPr/>
            </p:nvSpPr>
            <p:spPr bwMode="auto">
              <a:xfrm>
                <a:off x="3086" y="1393"/>
                <a:ext cx="69" cy="198"/>
              </a:xfrm>
              <a:custGeom>
                <a:avLst/>
                <a:gdLst>
                  <a:gd name="T0" fmla="*/ 59 w 69"/>
                  <a:gd name="T1" fmla="*/ 198 h 198"/>
                  <a:gd name="T2" fmla="*/ 0 w 69"/>
                  <a:gd name="T3" fmla="*/ 2 h 198"/>
                  <a:gd name="T4" fmla="*/ 12 w 69"/>
                  <a:gd name="T5" fmla="*/ 0 h 198"/>
                  <a:gd name="T6" fmla="*/ 69 w 69"/>
                  <a:gd name="T7" fmla="*/ 196 h 198"/>
                  <a:gd name="T8" fmla="*/ 59 w 69"/>
                  <a:gd name="T9" fmla="*/ 198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" h="198">
                    <a:moveTo>
                      <a:pt x="59" y="198"/>
                    </a:moveTo>
                    <a:lnTo>
                      <a:pt x="0" y="2"/>
                    </a:lnTo>
                    <a:lnTo>
                      <a:pt x="12" y="0"/>
                    </a:lnTo>
                    <a:lnTo>
                      <a:pt x="69" y="196"/>
                    </a:lnTo>
                    <a:lnTo>
                      <a:pt x="59" y="19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06" name="Freeform 94"/>
              <p:cNvSpPr/>
              <p:nvPr/>
            </p:nvSpPr>
            <p:spPr bwMode="auto">
              <a:xfrm>
                <a:off x="2980" y="1105"/>
                <a:ext cx="401" cy="51"/>
              </a:xfrm>
              <a:custGeom>
                <a:avLst/>
                <a:gdLst>
                  <a:gd name="T0" fmla="*/ 399 w 401"/>
                  <a:gd name="T1" fmla="*/ 51 h 51"/>
                  <a:gd name="T2" fmla="*/ 0 w 401"/>
                  <a:gd name="T3" fmla="*/ 11 h 51"/>
                  <a:gd name="T4" fmla="*/ 0 w 401"/>
                  <a:gd name="T5" fmla="*/ 0 h 51"/>
                  <a:gd name="T6" fmla="*/ 401 w 401"/>
                  <a:gd name="T7" fmla="*/ 42 h 51"/>
                  <a:gd name="T8" fmla="*/ 399 w 401"/>
                  <a:gd name="T9" fmla="*/ 5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1" h="51">
                    <a:moveTo>
                      <a:pt x="399" y="51"/>
                    </a:moveTo>
                    <a:lnTo>
                      <a:pt x="0" y="11"/>
                    </a:lnTo>
                    <a:lnTo>
                      <a:pt x="0" y="0"/>
                    </a:lnTo>
                    <a:lnTo>
                      <a:pt x="401" y="42"/>
                    </a:lnTo>
                    <a:lnTo>
                      <a:pt x="399" y="5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07" name="Freeform 95"/>
              <p:cNvSpPr/>
              <p:nvPr/>
            </p:nvSpPr>
            <p:spPr bwMode="auto">
              <a:xfrm>
                <a:off x="2977" y="944"/>
                <a:ext cx="232" cy="168"/>
              </a:xfrm>
              <a:custGeom>
                <a:avLst/>
                <a:gdLst>
                  <a:gd name="T0" fmla="*/ 7 w 232"/>
                  <a:gd name="T1" fmla="*/ 168 h 168"/>
                  <a:gd name="T2" fmla="*/ 0 w 232"/>
                  <a:gd name="T3" fmla="*/ 161 h 168"/>
                  <a:gd name="T4" fmla="*/ 225 w 232"/>
                  <a:gd name="T5" fmla="*/ 0 h 168"/>
                  <a:gd name="T6" fmla="*/ 232 w 232"/>
                  <a:gd name="T7" fmla="*/ 9 h 168"/>
                  <a:gd name="T8" fmla="*/ 7 w 232"/>
                  <a:gd name="T9" fmla="*/ 168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2" h="168">
                    <a:moveTo>
                      <a:pt x="7" y="168"/>
                    </a:moveTo>
                    <a:lnTo>
                      <a:pt x="0" y="161"/>
                    </a:lnTo>
                    <a:lnTo>
                      <a:pt x="225" y="0"/>
                    </a:lnTo>
                    <a:lnTo>
                      <a:pt x="232" y="9"/>
                    </a:lnTo>
                    <a:lnTo>
                      <a:pt x="7" y="16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08" name="Freeform 96"/>
              <p:cNvSpPr/>
              <p:nvPr/>
            </p:nvSpPr>
            <p:spPr bwMode="auto">
              <a:xfrm>
                <a:off x="2283" y="1038"/>
                <a:ext cx="111" cy="253"/>
              </a:xfrm>
              <a:custGeom>
                <a:avLst/>
                <a:gdLst>
                  <a:gd name="T0" fmla="*/ 9 w 111"/>
                  <a:gd name="T1" fmla="*/ 253 h 253"/>
                  <a:gd name="T2" fmla="*/ 0 w 111"/>
                  <a:gd name="T3" fmla="*/ 248 h 253"/>
                  <a:gd name="T4" fmla="*/ 99 w 111"/>
                  <a:gd name="T5" fmla="*/ 0 h 253"/>
                  <a:gd name="T6" fmla="*/ 111 w 111"/>
                  <a:gd name="T7" fmla="*/ 5 h 253"/>
                  <a:gd name="T8" fmla="*/ 9 w 111"/>
                  <a:gd name="T9" fmla="*/ 253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1" h="253">
                    <a:moveTo>
                      <a:pt x="9" y="253"/>
                    </a:moveTo>
                    <a:lnTo>
                      <a:pt x="0" y="248"/>
                    </a:lnTo>
                    <a:lnTo>
                      <a:pt x="99" y="0"/>
                    </a:lnTo>
                    <a:lnTo>
                      <a:pt x="111" y="5"/>
                    </a:lnTo>
                    <a:lnTo>
                      <a:pt x="9" y="253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09" name="Freeform 97"/>
              <p:cNvSpPr/>
              <p:nvPr/>
            </p:nvSpPr>
            <p:spPr bwMode="auto">
              <a:xfrm>
                <a:off x="2389" y="1034"/>
                <a:ext cx="173" cy="241"/>
              </a:xfrm>
              <a:custGeom>
                <a:avLst/>
                <a:gdLst>
                  <a:gd name="T0" fmla="*/ 163 w 173"/>
                  <a:gd name="T1" fmla="*/ 241 h 241"/>
                  <a:gd name="T2" fmla="*/ 0 w 173"/>
                  <a:gd name="T3" fmla="*/ 7 h 241"/>
                  <a:gd name="T4" fmla="*/ 9 w 173"/>
                  <a:gd name="T5" fmla="*/ 0 h 241"/>
                  <a:gd name="T6" fmla="*/ 173 w 173"/>
                  <a:gd name="T7" fmla="*/ 234 h 241"/>
                  <a:gd name="T8" fmla="*/ 163 w 173"/>
                  <a:gd name="T9" fmla="*/ 241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" h="241">
                    <a:moveTo>
                      <a:pt x="163" y="241"/>
                    </a:moveTo>
                    <a:lnTo>
                      <a:pt x="0" y="7"/>
                    </a:lnTo>
                    <a:lnTo>
                      <a:pt x="9" y="0"/>
                    </a:lnTo>
                    <a:lnTo>
                      <a:pt x="173" y="234"/>
                    </a:lnTo>
                    <a:lnTo>
                      <a:pt x="163" y="24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10" name="Freeform 98"/>
              <p:cNvSpPr/>
              <p:nvPr/>
            </p:nvSpPr>
            <p:spPr bwMode="auto">
              <a:xfrm>
                <a:off x="2562" y="1263"/>
                <a:ext cx="285" cy="99"/>
              </a:xfrm>
              <a:custGeom>
                <a:avLst/>
                <a:gdLst>
                  <a:gd name="T0" fmla="*/ 283 w 285"/>
                  <a:gd name="T1" fmla="*/ 99 h 99"/>
                  <a:gd name="T2" fmla="*/ 0 w 285"/>
                  <a:gd name="T3" fmla="*/ 9 h 99"/>
                  <a:gd name="T4" fmla="*/ 2 w 285"/>
                  <a:gd name="T5" fmla="*/ 0 h 99"/>
                  <a:gd name="T6" fmla="*/ 285 w 285"/>
                  <a:gd name="T7" fmla="*/ 87 h 99"/>
                  <a:gd name="T8" fmla="*/ 283 w 285"/>
                  <a:gd name="T9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5" h="99">
                    <a:moveTo>
                      <a:pt x="283" y="99"/>
                    </a:moveTo>
                    <a:lnTo>
                      <a:pt x="0" y="9"/>
                    </a:lnTo>
                    <a:lnTo>
                      <a:pt x="2" y="0"/>
                    </a:lnTo>
                    <a:lnTo>
                      <a:pt x="285" y="87"/>
                    </a:lnTo>
                    <a:lnTo>
                      <a:pt x="283" y="9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11" name="Freeform 99"/>
              <p:cNvSpPr/>
              <p:nvPr/>
            </p:nvSpPr>
            <p:spPr bwMode="auto">
              <a:xfrm>
                <a:off x="2554" y="1265"/>
                <a:ext cx="48" cy="121"/>
              </a:xfrm>
              <a:custGeom>
                <a:avLst/>
                <a:gdLst>
                  <a:gd name="T0" fmla="*/ 38 w 48"/>
                  <a:gd name="T1" fmla="*/ 121 h 121"/>
                  <a:gd name="T2" fmla="*/ 0 w 48"/>
                  <a:gd name="T3" fmla="*/ 5 h 121"/>
                  <a:gd name="T4" fmla="*/ 12 w 48"/>
                  <a:gd name="T5" fmla="*/ 0 h 121"/>
                  <a:gd name="T6" fmla="*/ 48 w 48"/>
                  <a:gd name="T7" fmla="*/ 118 h 121"/>
                  <a:gd name="T8" fmla="*/ 38 w 48"/>
                  <a:gd name="T9" fmla="*/ 12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121">
                    <a:moveTo>
                      <a:pt x="38" y="121"/>
                    </a:moveTo>
                    <a:lnTo>
                      <a:pt x="0" y="5"/>
                    </a:lnTo>
                    <a:lnTo>
                      <a:pt x="12" y="0"/>
                    </a:lnTo>
                    <a:lnTo>
                      <a:pt x="48" y="118"/>
                    </a:lnTo>
                    <a:lnTo>
                      <a:pt x="38" y="12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12" name="Freeform 100"/>
              <p:cNvSpPr/>
              <p:nvPr/>
            </p:nvSpPr>
            <p:spPr bwMode="auto">
              <a:xfrm>
                <a:off x="2443" y="1263"/>
                <a:ext cx="121" cy="165"/>
              </a:xfrm>
              <a:custGeom>
                <a:avLst/>
                <a:gdLst>
                  <a:gd name="T0" fmla="*/ 10 w 121"/>
                  <a:gd name="T1" fmla="*/ 165 h 165"/>
                  <a:gd name="T2" fmla="*/ 0 w 121"/>
                  <a:gd name="T3" fmla="*/ 158 h 165"/>
                  <a:gd name="T4" fmla="*/ 111 w 121"/>
                  <a:gd name="T5" fmla="*/ 0 h 165"/>
                  <a:gd name="T6" fmla="*/ 121 w 121"/>
                  <a:gd name="T7" fmla="*/ 7 h 165"/>
                  <a:gd name="T8" fmla="*/ 10 w 121"/>
                  <a:gd name="T9" fmla="*/ 16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1" h="165">
                    <a:moveTo>
                      <a:pt x="10" y="165"/>
                    </a:moveTo>
                    <a:lnTo>
                      <a:pt x="0" y="158"/>
                    </a:lnTo>
                    <a:lnTo>
                      <a:pt x="111" y="0"/>
                    </a:lnTo>
                    <a:lnTo>
                      <a:pt x="121" y="7"/>
                    </a:lnTo>
                    <a:lnTo>
                      <a:pt x="10" y="16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13" name="Freeform 101"/>
              <p:cNvSpPr/>
              <p:nvPr/>
            </p:nvSpPr>
            <p:spPr bwMode="auto">
              <a:xfrm>
                <a:off x="2382" y="885"/>
                <a:ext cx="198" cy="160"/>
              </a:xfrm>
              <a:custGeom>
                <a:avLst/>
                <a:gdLst>
                  <a:gd name="T0" fmla="*/ 7 w 198"/>
                  <a:gd name="T1" fmla="*/ 160 h 160"/>
                  <a:gd name="T2" fmla="*/ 0 w 198"/>
                  <a:gd name="T3" fmla="*/ 151 h 160"/>
                  <a:gd name="T4" fmla="*/ 191 w 198"/>
                  <a:gd name="T5" fmla="*/ 0 h 160"/>
                  <a:gd name="T6" fmla="*/ 198 w 198"/>
                  <a:gd name="T7" fmla="*/ 7 h 160"/>
                  <a:gd name="T8" fmla="*/ 7 w 198"/>
                  <a:gd name="T9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160">
                    <a:moveTo>
                      <a:pt x="7" y="160"/>
                    </a:moveTo>
                    <a:lnTo>
                      <a:pt x="0" y="151"/>
                    </a:lnTo>
                    <a:lnTo>
                      <a:pt x="191" y="0"/>
                    </a:lnTo>
                    <a:lnTo>
                      <a:pt x="198" y="7"/>
                    </a:lnTo>
                    <a:lnTo>
                      <a:pt x="7" y="16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14" name="Freeform 102"/>
              <p:cNvSpPr/>
              <p:nvPr/>
            </p:nvSpPr>
            <p:spPr bwMode="auto">
              <a:xfrm>
                <a:off x="2569" y="885"/>
                <a:ext cx="208" cy="250"/>
              </a:xfrm>
              <a:custGeom>
                <a:avLst/>
                <a:gdLst>
                  <a:gd name="T0" fmla="*/ 200 w 208"/>
                  <a:gd name="T1" fmla="*/ 250 h 250"/>
                  <a:gd name="T2" fmla="*/ 0 w 208"/>
                  <a:gd name="T3" fmla="*/ 7 h 250"/>
                  <a:gd name="T4" fmla="*/ 9 w 208"/>
                  <a:gd name="T5" fmla="*/ 0 h 250"/>
                  <a:gd name="T6" fmla="*/ 208 w 208"/>
                  <a:gd name="T7" fmla="*/ 243 h 250"/>
                  <a:gd name="T8" fmla="*/ 200 w 208"/>
                  <a:gd name="T9" fmla="*/ 250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250">
                    <a:moveTo>
                      <a:pt x="200" y="250"/>
                    </a:moveTo>
                    <a:lnTo>
                      <a:pt x="0" y="7"/>
                    </a:lnTo>
                    <a:lnTo>
                      <a:pt x="9" y="0"/>
                    </a:lnTo>
                    <a:lnTo>
                      <a:pt x="208" y="243"/>
                    </a:lnTo>
                    <a:lnTo>
                      <a:pt x="200" y="25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15" name="Freeform 103"/>
              <p:cNvSpPr/>
              <p:nvPr/>
            </p:nvSpPr>
            <p:spPr bwMode="auto">
              <a:xfrm>
                <a:off x="2554" y="1123"/>
                <a:ext cx="220" cy="147"/>
              </a:xfrm>
              <a:custGeom>
                <a:avLst/>
                <a:gdLst>
                  <a:gd name="T0" fmla="*/ 8 w 220"/>
                  <a:gd name="T1" fmla="*/ 147 h 147"/>
                  <a:gd name="T2" fmla="*/ 0 w 220"/>
                  <a:gd name="T3" fmla="*/ 137 h 147"/>
                  <a:gd name="T4" fmla="*/ 215 w 220"/>
                  <a:gd name="T5" fmla="*/ 0 h 147"/>
                  <a:gd name="T6" fmla="*/ 220 w 220"/>
                  <a:gd name="T7" fmla="*/ 10 h 147"/>
                  <a:gd name="T8" fmla="*/ 8 w 220"/>
                  <a:gd name="T9" fmla="*/ 147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" h="147">
                    <a:moveTo>
                      <a:pt x="8" y="147"/>
                    </a:moveTo>
                    <a:lnTo>
                      <a:pt x="0" y="137"/>
                    </a:lnTo>
                    <a:lnTo>
                      <a:pt x="215" y="0"/>
                    </a:lnTo>
                    <a:lnTo>
                      <a:pt x="220" y="10"/>
                    </a:lnTo>
                    <a:lnTo>
                      <a:pt x="8" y="147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16" name="Freeform 104"/>
              <p:cNvSpPr/>
              <p:nvPr/>
            </p:nvSpPr>
            <p:spPr bwMode="auto">
              <a:xfrm>
                <a:off x="2290" y="1263"/>
                <a:ext cx="269" cy="28"/>
              </a:xfrm>
              <a:custGeom>
                <a:avLst/>
                <a:gdLst>
                  <a:gd name="T0" fmla="*/ 0 w 269"/>
                  <a:gd name="T1" fmla="*/ 28 h 28"/>
                  <a:gd name="T2" fmla="*/ 0 w 269"/>
                  <a:gd name="T3" fmla="*/ 16 h 28"/>
                  <a:gd name="T4" fmla="*/ 269 w 269"/>
                  <a:gd name="T5" fmla="*/ 0 h 28"/>
                  <a:gd name="T6" fmla="*/ 269 w 269"/>
                  <a:gd name="T7" fmla="*/ 9 h 28"/>
                  <a:gd name="T8" fmla="*/ 0 w 269"/>
                  <a:gd name="T9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9" h="28">
                    <a:moveTo>
                      <a:pt x="0" y="28"/>
                    </a:moveTo>
                    <a:lnTo>
                      <a:pt x="0" y="16"/>
                    </a:lnTo>
                    <a:lnTo>
                      <a:pt x="269" y="0"/>
                    </a:lnTo>
                    <a:lnTo>
                      <a:pt x="269" y="9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17" name="Freeform 105"/>
              <p:cNvSpPr/>
              <p:nvPr/>
            </p:nvSpPr>
            <p:spPr bwMode="auto">
              <a:xfrm>
                <a:off x="2772" y="1102"/>
                <a:ext cx="210" cy="31"/>
              </a:xfrm>
              <a:custGeom>
                <a:avLst/>
                <a:gdLst>
                  <a:gd name="T0" fmla="*/ 2 w 210"/>
                  <a:gd name="T1" fmla="*/ 31 h 31"/>
                  <a:gd name="T2" fmla="*/ 0 w 210"/>
                  <a:gd name="T3" fmla="*/ 19 h 31"/>
                  <a:gd name="T4" fmla="*/ 210 w 210"/>
                  <a:gd name="T5" fmla="*/ 0 h 31"/>
                  <a:gd name="T6" fmla="*/ 210 w 210"/>
                  <a:gd name="T7" fmla="*/ 12 h 31"/>
                  <a:gd name="T8" fmla="*/ 2 w 210"/>
                  <a:gd name="T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0" h="31">
                    <a:moveTo>
                      <a:pt x="2" y="31"/>
                    </a:moveTo>
                    <a:lnTo>
                      <a:pt x="0" y="19"/>
                    </a:lnTo>
                    <a:lnTo>
                      <a:pt x="210" y="0"/>
                    </a:lnTo>
                    <a:lnTo>
                      <a:pt x="210" y="12"/>
                    </a:lnTo>
                    <a:lnTo>
                      <a:pt x="2" y="3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18" name="Freeform 106"/>
              <p:cNvSpPr/>
              <p:nvPr/>
            </p:nvSpPr>
            <p:spPr bwMode="auto">
              <a:xfrm>
                <a:off x="2899" y="814"/>
                <a:ext cx="308" cy="139"/>
              </a:xfrm>
              <a:custGeom>
                <a:avLst/>
                <a:gdLst>
                  <a:gd name="T0" fmla="*/ 303 w 308"/>
                  <a:gd name="T1" fmla="*/ 139 h 139"/>
                  <a:gd name="T2" fmla="*/ 0 w 308"/>
                  <a:gd name="T3" fmla="*/ 9 h 139"/>
                  <a:gd name="T4" fmla="*/ 5 w 308"/>
                  <a:gd name="T5" fmla="*/ 0 h 139"/>
                  <a:gd name="T6" fmla="*/ 308 w 308"/>
                  <a:gd name="T7" fmla="*/ 127 h 139"/>
                  <a:gd name="T8" fmla="*/ 303 w 308"/>
                  <a:gd name="T9" fmla="*/ 13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8" h="139">
                    <a:moveTo>
                      <a:pt x="303" y="139"/>
                    </a:moveTo>
                    <a:lnTo>
                      <a:pt x="0" y="9"/>
                    </a:lnTo>
                    <a:lnTo>
                      <a:pt x="5" y="0"/>
                    </a:lnTo>
                    <a:lnTo>
                      <a:pt x="308" y="127"/>
                    </a:lnTo>
                    <a:lnTo>
                      <a:pt x="303" y="139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19" name="Freeform 107"/>
              <p:cNvSpPr/>
              <p:nvPr/>
            </p:nvSpPr>
            <p:spPr bwMode="auto">
              <a:xfrm>
                <a:off x="2571" y="814"/>
                <a:ext cx="331" cy="78"/>
              </a:xfrm>
              <a:custGeom>
                <a:avLst/>
                <a:gdLst>
                  <a:gd name="T0" fmla="*/ 2 w 331"/>
                  <a:gd name="T1" fmla="*/ 78 h 78"/>
                  <a:gd name="T2" fmla="*/ 0 w 331"/>
                  <a:gd name="T3" fmla="*/ 66 h 78"/>
                  <a:gd name="T4" fmla="*/ 328 w 331"/>
                  <a:gd name="T5" fmla="*/ 0 h 78"/>
                  <a:gd name="T6" fmla="*/ 331 w 331"/>
                  <a:gd name="T7" fmla="*/ 12 h 78"/>
                  <a:gd name="T8" fmla="*/ 2 w 331"/>
                  <a:gd name="T9" fmla="*/ 7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1" h="78">
                    <a:moveTo>
                      <a:pt x="2" y="78"/>
                    </a:moveTo>
                    <a:lnTo>
                      <a:pt x="0" y="66"/>
                    </a:lnTo>
                    <a:lnTo>
                      <a:pt x="328" y="0"/>
                    </a:lnTo>
                    <a:lnTo>
                      <a:pt x="331" y="12"/>
                    </a:lnTo>
                    <a:lnTo>
                      <a:pt x="2" y="7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20" name="Freeform 108"/>
              <p:cNvSpPr/>
              <p:nvPr/>
            </p:nvSpPr>
            <p:spPr bwMode="auto">
              <a:xfrm>
                <a:off x="2895" y="819"/>
                <a:ext cx="94" cy="290"/>
              </a:xfrm>
              <a:custGeom>
                <a:avLst/>
                <a:gdLst>
                  <a:gd name="T0" fmla="*/ 82 w 94"/>
                  <a:gd name="T1" fmla="*/ 290 h 290"/>
                  <a:gd name="T2" fmla="*/ 0 w 94"/>
                  <a:gd name="T3" fmla="*/ 2 h 290"/>
                  <a:gd name="T4" fmla="*/ 11 w 94"/>
                  <a:gd name="T5" fmla="*/ 0 h 290"/>
                  <a:gd name="T6" fmla="*/ 94 w 94"/>
                  <a:gd name="T7" fmla="*/ 288 h 290"/>
                  <a:gd name="T8" fmla="*/ 82 w 94"/>
                  <a:gd name="T9" fmla="*/ 290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290">
                    <a:moveTo>
                      <a:pt x="82" y="290"/>
                    </a:moveTo>
                    <a:lnTo>
                      <a:pt x="0" y="2"/>
                    </a:lnTo>
                    <a:lnTo>
                      <a:pt x="11" y="0"/>
                    </a:lnTo>
                    <a:lnTo>
                      <a:pt x="94" y="288"/>
                    </a:lnTo>
                    <a:lnTo>
                      <a:pt x="82" y="29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21" name="Freeform 109"/>
              <p:cNvSpPr/>
              <p:nvPr/>
            </p:nvSpPr>
            <p:spPr bwMode="auto">
              <a:xfrm>
                <a:off x="2762" y="823"/>
                <a:ext cx="142" cy="305"/>
              </a:xfrm>
              <a:custGeom>
                <a:avLst/>
                <a:gdLst>
                  <a:gd name="T0" fmla="*/ 10 w 142"/>
                  <a:gd name="T1" fmla="*/ 305 h 305"/>
                  <a:gd name="T2" fmla="*/ 0 w 142"/>
                  <a:gd name="T3" fmla="*/ 300 h 305"/>
                  <a:gd name="T4" fmla="*/ 130 w 142"/>
                  <a:gd name="T5" fmla="*/ 0 h 305"/>
                  <a:gd name="T6" fmla="*/ 142 w 142"/>
                  <a:gd name="T7" fmla="*/ 5 h 305"/>
                  <a:gd name="T8" fmla="*/ 10 w 142"/>
                  <a:gd name="T9" fmla="*/ 305 h 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305">
                    <a:moveTo>
                      <a:pt x="10" y="305"/>
                    </a:moveTo>
                    <a:lnTo>
                      <a:pt x="0" y="300"/>
                    </a:lnTo>
                    <a:lnTo>
                      <a:pt x="130" y="0"/>
                    </a:lnTo>
                    <a:lnTo>
                      <a:pt x="142" y="5"/>
                    </a:lnTo>
                    <a:lnTo>
                      <a:pt x="10" y="30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22" name="Freeform 110"/>
              <p:cNvSpPr/>
              <p:nvPr/>
            </p:nvSpPr>
            <p:spPr bwMode="auto">
              <a:xfrm>
                <a:off x="2550" y="887"/>
                <a:ext cx="28" cy="373"/>
              </a:xfrm>
              <a:custGeom>
                <a:avLst/>
                <a:gdLst>
                  <a:gd name="T0" fmla="*/ 12 w 28"/>
                  <a:gd name="T1" fmla="*/ 373 h 373"/>
                  <a:gd name="T2" fmla="*/ 0 w 28"/>
                  <a:gd name="T3" fmla="*/ 373 h 373"/>
                  <a:gd name="T4" fmla="*/ 16 w 28"/>
                  <a:gd name="T5" fmla="*/ 0 h 373"/>
                  <a:gd name="T6" fmla="*/ 28 w 28"/>
                  <a:gd name="T7" fmla="*/ 0 h 373"/>
                  <a:gd name="T8" fmla="*/ 12 w 28"/>
                  <a:gd name="T9" fmla="*/ 373 h 3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73">
                    <a:moveTo>
                      <a:pt x="12" y="373"/>
                    </a:moveTo>
                    <a:lnTo>
                      <a:pt x="0" y="373"/>
                    </a:lnTo>
                    <a:lnTo>
                      <a:pt x="16" y="0"/>
                    </a:lnTo>
                    <a:lnTo>
                      <a:pt x="28" y="0"/>
                    </a:lnTo>
                    <a:lnTo>
                      <a:pt x="12" y="373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23" name="Freeform 111"/>
              <p:cNvSpPr/>
              <p:nvPr/>
            </p:nvSpPr>
            <p:spPr bwMode="auto">
              <a:xfrm>
                <a:off x="2977" y="1107"/>
                <a:ext cx="121" cy="281"/>
              </a:xfrm>
              <a:custGeom>
                <a:avLst/>
                <a:gdLst>
                  <a:gd name="T0" fmla="*/ 109 w 121"/>
                  <a:gd name="T1" fmla="*/ 281 h 281"/>
                  <a:gd name="T2" fmla="*/ 0 w 121"/>
                  <a:gd name="T3" fmla="*/ 2 h 281"/>
                  <a:gd name="T4" fmla="*/ 12 w 121"/>
                  <a:gd name="T5" fmla="*/ 0 h 281"/>
                  <a:gd name="T6" fmla="*/ 121 w 121"/>
                  <a:gd name="T7" fmla="*/ 276 h 281"/>
                  <a:gd name="T8" fmla="*/ 109 w 121"/>
                  <a:gd name="T9" fmla="*/ 281 h 2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1" h="281">
                    <a:moveTo>
                      <a:pt x="109" y="281"/>
                    </a:moveTo>
                    <a:lnTo>
                      <a:pt x="0" y="2"/>
                    </a:lnTo>
                    <a:lnTo>
                      <a:pt x="12" y="0"/>
                    </a:lnTo>
                    <a:lnTo>
                      <a:pt x="121" y="276"/>
                    </a:lnTo>
                    <a:lnTo>
                      <a:pt x="109" y="28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24" name="Freeform 112"/>
              <p:cNvSpPr/>
              <p:nvPr/>
            </p:nvSpPr>
            <p:spPr bwMode="auto">
              <a:xfrm>
                <a:off x="2769" y="1126"/>
                <a:ext cx="74" cy="224"/>
              </a:xfrm>
              <a:custGeom>
                <a:avLst/>
                <a:gdLst>
                  <a:gd name="T0" fmla="*/ 62 w 74"/>
                  <a:gd name="T1" fmla="*/ 224 h 224"/>
                  <a:gd name="T2" fmla="*/ 0 w 74"/>
                  <a:gd name="T3" fmla="*/ 5 h 224"/>
                  <a:gd name="T4" fmla="*/ 12 w 74"/>
                  <a:gd name="T5" fmla="*/ 0 h 224"/>
                  <a:gd name="T6" fmla="*/ 74 w 74"/>
                  <a:gd name="T7" fmla="*/ 222 h 224"/>
                  <a:gd name="T8" fmla="*/ 62 w 74"/>
                  <a:gd name="T9" fmla="*/ 224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224">
                    <a:moveTo>
                      <a:pt x="62" y="224"/>
                    </a:moveTo>
                    <a:lnTo>
                      <a:pt x="0" y="5"/>
                    </a:lnTo>
                    <a:lnTo>
                      <a:pt x="12" y="0"/>
                    </a:lnTo>
                    <a:lnTo>
                      <a:pt x="74" y="222"/>
                    </a:lnTo>
                    <a:lnTo>
                      <a:pt x="62" y="22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25" name="Freeform 113"/>
              <p:cNvSpPr/>
              <p:nvPr/>
            </p:nvSpPr>
            <p:spPr bwMode="auto">
              <a:xfrm>
                <a:off x="2836" y="1109"/>
                <a:ext cx="148" cy="248"/>
              </a:xfrm>
              <a:custGeom>
                <a:avLst/>
                <a:gdLst>
                  <a:gd name="T0" fmla="*/ 9 w 148"/>
                  <a:gd name="T1" fmla="*/ 248 h 248"/>
                  <a:gd name="T2" fmla="*/ 0 w 148"/>
                  <a:gd name="T3" fmla="*/ 244 h 248"/>
                  <a:gd name="T4" fmla="*/ 139 w 148"/>
                  <a:gd name="T5" fmla="*/ 0 h 248"/>
                  <a:gd name="T6" fmla="*/ 148 w 148"/>
                  <a:gd name="T7" fmla="*/ 7 h 248"/>
                  <a:gd name="T8" fmla="*/ 9 w 148"/>
                  <a:gd name="T9" fmla="*/ 248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8" h="248">
                    <a:moveTo>
                      <a:pt x="9" y="248"/>
                    </a:moveTo>
                    <a:lnTo>
                      <a:pt x="0" y="244"/>
                    </a:lnTo>
                    <a:lnTo>
                      <a:pt x="139" y="0"/>
                    </a:lnTo>
                    <a:lnTo>
                      <a:pt x="148" y="7"/>
                    </a:lnTo>
                    <a:lnTo>
                      <a:pt x="9" y="248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26" name="Freeform 114"/>
              <p:cNvSpPr/>
              <p:nvPr/>
            </p:nvSpPr>
            <p:spPr bwMode="auto">
              <a:xfrm>
                <a:off x="2987" y="1105"/>
                <a:ext cx="255" cy="160"/>
              </a:xfrm>
              <a:custGeom>
                <a:avLst/>
                <a:gdLst>
                  <a:gd name="T0" fmla="*/ 250 w 255"/>
                  <a:gd name="T1" fmla="*/ 160 h 160"/>
                  <a:gd name="T2" fmla="*/ 0 w 255"/>
                  <a:gd name="T3" fmla="*/ 9 h 160"/>
                  <a:gd name="T4" fmla="*/ 5 w 255"/>
                  <a:gd name="T5" fmla="*/ 0 h 160"/>
                  <a:gd name="T6" fmla="*/ 255 w 255"/>
                  <a:gd name="T7" fmla="*/ 151 h 160"/>
                  <a:gd name="T8" fmla="*/ 250 w 255"/>
                  <a:gd name="T9" fmla="*/ 16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160">
                    <a:moveTo>
                      <a:pt x="250" y="160"/>
                    </a:moveTo>
                    <a:lnTo>
                      <a:pt x="0" y="9"/>
                    </a:lnTo>
                    <a:lnTo>
                      <a:pt x="5" y="0"/>
                    </a:lnTo>
                    <a:lnTo>
                      <a:pt x="255" y="151"/>
                    </a:lnTo>
                    <a:lnTo>
                      <a:pt x="250" y="160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27" name="Freeform 115"/>
              <p:cNvSpPr/>
              <p:nvPr/>
            </p:nvSpPr>
            <p:spPr bwMode="auto">
              <a:xfrm>
                <a:off x="3235" y="1263"/>
                <a:ext cx="165" cy="217"/>
              </a:xfrm>
              <a:custGeom>
                <a:avLst/>
                <a:gdLst>
                  <a:gd name="T0" fmla="*/ 156 w 165"/>
                  <a:gd name="T1" fmla="*/ 217 h 217"/>
                  <a:gd name="T2" fmla="*/ 0 w 165"/>
                  <a:gd name="T3" fmla="*/ 7 h 217"/>
                  <a:gd name="T4" fmla="*/ 9 w 165"/>
                  <a:gd name="T5" fmla="*/ 0 h 217"/>
                  <a:gd name="T6" fmla="*/ 165 w 165"/>
                  <a:gd name="T7" fmla="*/ 212 h 217"/>
                  <a:gd name="T8" fmla="*/ 156 w 165"/>
                  <a:gd name="T9" fmla="*/ 217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5" h="217">
                    <a:moveTo>
                      <a:pt x="156" y="217"/>
                    </a:moveTo>
                    <a:lnTo>
                      <a:pt x="0" y="7"/>
                    </a:lnTo>
                    <a:lnTo>
                      <a:pt x="9" y="0"/>
                    </a:lnTo>
                    <a:lnTo>
                      <a:pt x="165" y="212"/>
                    </a:lnTo>
                    <a:lnTo>
                      <a:pt x="156" y="217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28" name="Freeform 116"/>
              <p:cNvSpPr/>
              <p:nvPr/>
            </p:nvSpPr>
            <p:spPr bwMode="auto">
              <a:xfrm>
                <a:off x="3150" y="1270"/>
                <a:ext cx="94" cy="321"/>
              </a:xfrm>
              <a:custGeom>
                <a:avLst/>
                <a:gdLst>
                  <a:gd name="T0" fmla="*/ 9 w 94"/>
                  <a:gd name="T1" fmla="*/ 321 h 321"/>
                  <a:gd name="T2" fmla="*/ 0 w 94"/>
                  <a:gd name="T3" fmla="*/ 319 h 321"/>
                  <a:gd name="T4" fmla="*/ 83 w 94"/>
                  <a:gd name="T5" fmla="*/ 0 h 321"/>
                  <a:gd name="T6" fmla="*/ 94 w 94"/>
                  <a:gd name="T7" fmla="*/ 2 h 321"/>
                  <a:gd name="T8" fmla="*/ 9 w 94"/>
                  <a:gd name="T9" fmla="*/ 321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" h="321">
                    <a:moveTo>
                      <a:pt x="9" y="321"/>
                    </a:moveTo>
                    <a:lnTo>
                      <a:pt x="0" y="319"/>
                    </a:lnTo>
                    <a:lnTo>
                      <a:pt x="83" y="0"/>
                    </a:lnTo>
                    <a:lnTo>
                      <a:pt x="94" y="2"/>
                    </a:lnTo>
                    <a:lnTo>
                      <a:pt x="9" y="32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29" name="Freeform 117"/>
              <p:cNvSpPr/>
              <p:nvPr/>
            </p:nvSpPr>
            <p:spPr bwMode="auto">
              <a:xfrm>
                <a:off x="2838" y="1357"/>
                <a:ext cx="158" cy="284"/>
              </a:xfrm>
              <a:custGeom>
                <a:avLst/>
                <a:gdLst>
                  <a:gd name="T0" fmla="*/ 149 w 158"/>
                  <a:gd name="T1" fmla="*/ 284 h 284"/>
                  <a:gd name="T2" fmla="*/ 0 w 158"/>
                  <a:gd name="T3" fmla="*/ 5 h 284"/>
                  <a:gd name="T4" fmla="*/ 9 w 158"/>
                  <a:gd name="T5" fmla="*/ 0 h 284"/>
                  <a:gd name="T6" fmla="*/ 158 w 158"/>
                  <a:gd name="T7" fmla="*/ 277 h 284"/>
                  <a:gd name="T8" fmla="*/ 149 w 158"/>
                  <a:gd name="T9" fmla="*/ 284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284">
                    <a:moveTo>
                      <a:pt x="149" y="284"/>
                    </a:moveTo>
                    <a:lnTo>
                      <a:pt x="0" y="5"/>
                    </a:lnTo>
                    <a:lnTo>
                      <a:pt x="9" y="0"/>
                    </a:lnTo>
                    <a:lnTo>
                      <a:pt x="158" y="277"/>
                    </a:lnTo>
                    <a:lnTo>
                      <a:pt x="149" y="284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30" name="Freeform 118"/>
              <p:cNvSpPr/>
              <p:nvPr/>
            </p:nvSpPr>
            <p:spPr bwMode="auto">
              <a:xfrm>
                <a:off x="2987" y="1390"/>
                <a:ext cx="109" cy="246"/>
              </a:xfrm>
              <a:custGeom>
                <a:avLst/>
                <a:gdLst>
                  <a:gd name="T0" fmla="*/ 9 w 109"/>
                  <a:gd name="T1" fmla="*/ 246 h 246"/>
                  <a:gd name="T2" fmla="*/ 0 w 109"/>
                  <a:gd name="T3" fmla="*/ 241 h 246"/>
                  <a:gd name="T4" fmla="*/ 99 w 109"/>
                  <a:gd name="T5" fmla="*/ 0 h 246"/>
                  <a:gd name="T6" fmla="*/ 109 w 109"/>
                  <a:gd name="T7" fmla="*/ 5 h 246"/>
                  <a:gd name="T8" fmla="*/ 9 w 109"/>
                  <a:gd name="T9" fmla="*/ 246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9" h="246">
                    <a:moveTo>
                      <a:pt x="9" y="246"/>
                    </a:moveTo>
                    <a:lnTo>
                      <a:pt x="0" y="241"/>
                    </a:lnTo>
                    <a:lnTo>
                      <a:pt x="99" y="0"/>
                    </a:lnTo>
                    <a:lnTo>
                      <a:pt x="109" y="5"/>
                    </a:lnTo>
                    <a:lnTo>
                      <a:pt x="9" y="246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31" name="Freeform 119"/>
              <p:cNvSpPr/>
              <p:nvPr/>
            </p:nvSpPr>
            <p:spPr bwMode="auto">
              <a:xfrm>
                <a:off x="2850" y="1634"/>
                <a:ext cx="142" cy="196"/>
              </a:xfrm>
              <a:custGeom>
                <a:avLst/>
                <a:gdLst>
                  <a:gd name="T0" fmla="*/ 9 w 142"/>
                  <a:gd name="T1" fmla="*/ 196 h 196"/>
                  <a:gd name="T2" fmla="*/ 0 w 142"/>
                  <a:gd name="T3" fmla="*/ 189 h 196"/>
                  <a:gd name="T4" fmla="*/ 132 w 142"/>
                  <a:gd name="T5" fmla="*/ 0 h 196"/>
                  <a:gd name="T6" fmla="*/ 142 w 142"/>
                  <a:gd name="T7" fmla="*/ 7 h 196"/>
                  <a:gd name="T8" fmla="*/ 9 w 142"/>
                  <a:gd name="T9" fmla="*/ 1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2" h="196">
                    <a:moveTo>
                      <a:pt x="9" y="196"/>
                    </a:moveTo>
                    <a:lnTo>
                      <a:pt x="0" y="189"/>
                    </a:lnTo>
                    <a:lnTo>
                      <a:pt x="132" y="0"/>
                    </a:lnTo>
                    <a:lnTo>
                      <a:pt x="142" y="7"/>
                    </a:lnTo>
                    <a:lnTo>
                      <a:pt x="9" y="196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32" name="Freeform 120"/>
              <p:cNvSpPr/>
              <p:nvPr/>
            </p:nvSpPr>
            <p:spPr bwMode="auto">
              <a:xfrm>
                <a:off x="2850" y="1837"/>
                <a:ext cx="175" cy="205"/>
              </a:xfrm>
              <a:custGeom>
                <a:avLst/>
                <a:gdLst>
                  <a:gd name="T0" fmla="*/ 165 w 175"/>
                  <a:gd name="T1" fmla="*/ 205 h 205"/>
                  <a:gd name="T2" fmla="*/ 0 w 175"/>
                  <a:gd name="T3" fmla="*/ 7 h 205"/>
                  <a:gd name="T4" fmla="*/ 7 w 175"/>
                  <a:gd name="T5" fmla="*/ 0 h 205"/>
                  <a:gd name="T6" fmla="*/ 175 w 175"/>
                  <a:gd name="T7" fmla="*/ 198 h 205"/>
                  <a:gd name="T8" fmla="*/ 165 w 175"/>
                  <a:gd name="T9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5" h="205">
                    <a:moveTo>
                      <a:pt x="165" y="205"/>
                    </a:moveTo>
                    <a:lnTo>
                      <a:pt x="0" y="7"/>
                    </a:lnTo>
                    <a:lnTo>
                      <a:pt x="7" y="0"/>
                    </a:lnTo>
                    <a:lnTo>
                      <a:pt x="175" y="198"/>
                    </a:lnTo>
                    <a:lnTo>
                      <a:pt x="165" y="205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33" name="Freeform 121"/>
              <p:cNvSpPr/>
              <p:nvPr/>
            </p:nvSpPr>
            <p:spPr bwMode="auto">
              <a:xfrm>
                <a:off x="2616" y="1523"/>
                <a:ext cx="241" cy="321"/>
              </a:xfrm>
              <a:custGeom>
                <a:avLst/>
                <a:gdLst>
                  <a:gd name="T0" fmla="*/ 234 w 241"/>
                  <a:gd name="T1" fmla="*/ 321 h 321"/>
                  <a:gd name="T2" fmla="*/ 0 w 241"/>
                  <a:gd name="T3" fmla="*/ 7 h 321"/>
                  <a:gd name="T4" fmla="*/ 9 w 241"/>
                  <a:gd name="T5" fmla="*/ 0 h 321"/>
                  <a:gd name="T6" fmla="*/ 241 w 241"/>
                  <a:gd name="T7" fmla="*/ 316 h 321"/>
                  <a:gd name="T8" fmla="*/ 234 w 241"/>
                  <a:gd name="T9" fmla="*/ 321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1" h="321">
                    <a:moveTo>
                      <a:pt x="234" y="321"/>
                    </a:moveTo>
                    <a:lnTo>
                      <a:pt x="0" y="7"/>
                    </a:lnTo>
                    <a:lnTo>
                      <a:pt x="9" y="0"/>
                    </a:lnTo>
                    <a:lnTo>
                      <a:pt x="241" y="316"/>
                    </a:lnTo>
                    <a:lnTo>
                      <a:pt x="234" y="321"/>
                    </a:lnTo>
                    <a:close/>
                  </a:path>
                </a:pathLst>
              </a:custGeom>
              <a:solidFill>
                <a:srgbClr val="505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  <p:sp>
            <p:nvSpPr>
              <p:cNvPr id="134" name="Oval 122"/>
              <p:cNvSpPr>
                <a:spLocks noChangeArrowheads="1"/>
              </p:cNvSpPr>
              <p:nvPr/>
            </p:nvSpPr>
            <p:spPr bwMode="auto">
              <a:xfrm>
                <a:off x="2786" y="1291"/>
                <a:ext cx="111" cy="111"/>
              </a:xfrm>
              <a:prstGeom prst="ellipse">
                <a:avLst/>
              </a:prstGeom>
              <a:gradFill>
                <a:gsLst>
                  <a:gs pos="0">
                    <a:srgbClr val="56C7CA"/>
                  </a:gs>
                  <a:gs pos="100000">
                    <a:srgbClr val="11817E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  <a:bevelB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5" name="Oval 123"/>
              <p:cNvSpPr>
                <a:spLocks noChangeArrowheads="1"/>
              </p:cNvSpPr>
              <p:nvPr/>
            </p:nvSpPr>
            <p:spPr bwMode="auto">
              <a:xfrm>
                <a:off x="2306" y="1591"/>
                <a:ext cx="111" cy="114"/>
              </a:xfrm>
              <a:prstGeom prst="ellipse">
                <a:avLst/>
              </a:prstGeom>
              <a:gradFill>
                <a:gsLst>
                  <a:gs pos="100000">
                    <a:srgbClr val="EC880E"/>
                  </a:gs>
                  <a:gs pos="0">
                    <a:srgbClr val="FFC00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6" name="Oval 124"/>
              <p:cNvSpPr>
                <a:spLocks noChangeArrowheads="1"/>
              </p:cNvSpPr>
              <p:nvPr/>
            </p:nvSpPr>
            <p:spPr bwMode="auto">
              <a:xfrm>
                <a:off x="2798" y="2137"/>
                <a:ext cx="111" cy="111"/>
              </a:xfrm>
              <a:prstGeom prst="ellipse">
                <a:avLst/>
              </a:prstGeom>
              <a:gradFill>
                <a:gsLst>
                  <a:gs pos="0">
                    <a:srgbClr val="56C7CA"/>
                  </a:gs>
                  <a:gs pos="100000">
                    <a:srgbClr val="11817E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  <a:bevelB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7" name="Oval 125"/>
              <p:cNvSpPr>
                <a:spLocks noChangeArrowheads="1"/>
              </p:cNvSpPr>
              <p:nvPr/>
            </p:nvSpPr>
            <p:spPr bwMode="auto">
              <a:xfrm>
                <a:off x="2798" y="1579"/>
                <a:ext cx="111" cy="111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8" name="Oval 126"/>
              <p:cNvSpPr>
                <a:spLocks noChangeArrowheads="1"/>
              </p:cNvSpPr>
              <p:nvPr/>
            </p:nvSpPr>
            <p:spPr bwMode="auto">
              <a:xfrm>
                <a:off x="2781" y="1761"/>
                <a:ext cx="144" cy="144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39" name="Oval 127"/>
              <p:cNvSpPr>
                <a:spLocks noChangeArrowheads="1"/>
              </p:cNvSpPr>
              <p:nvPr/>
            </p:nvSpPr>
            <p:spPr bwMode="auto">
              <a:xfrm>
                <a:off x="3341" y="1421"/>
                <a:ext cx="114" cy="111"/>
              </a:xfrm>
              <a:prstGeom prst="ellipse">
                <a:avLst/>
              </a:prstGeom>
              <a:gradFill>
                <a:gsLst>
                  <a:gs pos="100000">
                    <a:srgbClr val="EC880E"/>
                  </a:gs>
                  <a:gs pos="0">
                    <a:srgbClr val="FFC00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0" name="Oval 128"/>
              <p:cNvSpPr>
                <a:spLocks noChangeArrowheads="1"/>
              </p:cNvSpPr>
              <p:nvPr/>
            </p:nvSpPr>
            <p:spPr bwMode="auto">
              <a:xfrm>
                <a:off x="2524" y="835"/>
                <a:ext cx="111" cy="111"/>
              </a:xfrm>
              <a:prstGeom prst="ellipse">
                <a:avLst/>
              </a:prstGeom>
              <a:gradFill>
                <a:gsLst>
                  <a:gs pos="0">
                    <a:srgbClr val="56C7CA"/>
                  </a:gs>
                  <a:gs pos="100000">
                    <a:srgbClr val="11817E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  <a:bevelB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1" name="Oval 129"/>
              <p:cNvSpPr>
                <a:spLocks noChangeArrowheads="1"/>
              </p:cNvSpPr>
              <p:nvPr/>
            </p:nvSpPr>
            <p:spPr bwMode="auto">
              <a:xfrm>
                <a:off x="2521" y="1227"/>
                <a:ext cx="81" cy="81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2" name="Oval 130"/>
              <p:cNvSpPr>
                <a:spLocks noChangeArrowheads="1"/>
              </p:cNvSpPr>
              <p:nvPr/>
            </p:nvSpPr>
            <p:spPr bwMode="auto">
              <a:xfrm>
                <a:off x="2250" y="1249"/>
                <a:ext cx="80" cy="80"/>
              </a:xfrm>
              <a:prstGeom prst="ellipse">
                <a:avLst/>
              </a:prstGeom>
              <a:gradFill>
                <a:gsLst>
                  <a:gs pos="0">
                    <a:srgbClr val="F05F55"/>
                  </a:gs>
                  <a:gs pos="100000">
                    <a:srgbClr val="D7190F"/>
                  </a:gs>
                </a:gsLst>
                <a:lin ang="54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3" name="Oval 131"/>
              <p:cNvSpPr>
                <a:spLocks noChangeArrowheads="1"/>
              </p:cNvSpPr>
              <p:nvPr/>
            </p:nvSpPr>
            <p:spPr bwMode="auto">
              <a:xfrm>
                <a:off x="2351" y="1001"/>
                <a:ext cx="81" cy="80"/>
              </a:xfrm>
              <a:prstGeom prst="ellipse">
                <a:avLst/>
              </a:prstGeom>
              <a:gradFill>
                <a:gsLst>
                  <a:gs pos="0">
                    <a:srgbClr val="76B531"/>
                  </a:gs>
                  <a:gs pos="100000">
                    <a:srgbClr val="5B960C"/>
                  </a:gs>
                </a:gsLst>
                <a:lin ang="90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4" name="Oval 132"/>
              <p:cNvSpPr>
                <a:spLocks noChangeArrowheads="1"/>
              </p:cNvSpPr>
              <p:nvPr/>
            </p:nvSpPr>
            <p:spPr bwMode="auto">
              <a:xfrm>
                <a:off x="2942" y="1069"/>
                <a:ext cx="80" cy="80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5" name="Oval 133"/>
              <p:cNvSpPr>
                <a:spLocks noChangeArrowheads="1"/>
              </p:cNvSpPr>
              <p:nvPr/>
            </p:nvSpPr>
            <p:spPr bwMode="auto">
              <a:xfrm>
                <a:off x="3346" y="1109"/>
                <a:ext cx="80" cy="81"/>
              </a:xfrm>
              <a:prstGeom prst="ellipse">
                <a:avLst/>
              </a:prstGeom>
              <a:gradFill>
                <a:gsLst>
                  <a:gs pos="0">
                    <a:srgbClr val="56C7CA"/>
                  </a:gs>
                  <a:gs pos="100000">
                    <a:srgbClr val="11817E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  <a:bevelB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6" name="Oval 134"/>
              <p:cNvSpPr>
                <a:spLocks noChangeArrowheads="1"/>
              </p:cNvSpPr>
              <p:nvPr/>
            </p:nvSpPr>
            <p:spPr bwMode="auto">
              <a:xfrm>
                <a:off x="3110" y="1558"/>
                <a:ext cx="80" cy="80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7" name="Oval 135"/>
              <p:cNvSpPr>
                <a:spLocks noChangeArrowheads="1"/>
              </p:cNvSpPr>
              <p:nvPr/>
            </p:nvSpPr>
            <p:spPr bwMode="auto">
              <a:xfrm>
                <a:off x="3204" y="1225"/>
                <a:ext cx="78" cy="78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8" name="Oval 136"/>
              <p:cNvSpPr>
                <a:spLocks noChangeArrowheads="1"/>
              </p:cNvSpPr>
              <p:nvPr/>
            </p:nvSpPr>
            <p:spPr bwMode="auto">
              <a:xfrm>
                <a:off x="2491" y="1962"/>
                <a:ext cx="80" cy="80"/>
              </a:xfrm>
              <a:prstGeom prst="ellipse">
                <a:avLst/>
              </a:prstGeom>
              <a:gradFill>
                <a:gsLst>
                  <a:gs pos="0">
                    <a:srgbClr val="56C7CA"/>
                  </a:gs>
                  <a:gs pos="100000">
                    <a:srgbClr val="11817E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  <a:bevelB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49" name="Oval 137"/>
              <p:cNvSpPr>
                <a:spLocks noChangeArrowheads="1"/>
              </p:cNvSpPr>
              <p:nvPr/>
            </p:nvSpPr>
            <p:spPr bwMode="auto">
              <a:xfrm>
                <a:off x="3136" y="1901"/>
                <a:ext cx="80" cy="80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50" name="Oval 138"/>
              <p:cNvSpPr>
                <a:spLocks noChangeArrowheads="1"/>
              </p:cNvSpPr>
              <p:nvPr/>
            </p:nvSpPr>
            <p:spPr bwMode="auto">
              <a:xfrm>
                <a:off x="2746" y="1102"/>
                <a:ext cx="57" cy="59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51" name="Oval 139"/>
              <p:cNvSpPr>
                <a:spLocks noChangeArrowheads="1"/>
              </p:cNvSpPr>
              <p:nvPr/>
            </p:nvSpPr>
            <p:spPr bwMode="auto">
              <a:xfrm>
                <a:off x="2422" y="1395"/>
                <a:ext cx="57" cy="59"/>
              </a:xfrm>
              <a:prstGeom prst="ellipse">
                <a:avLst/>
              </a:prstGeom>
              <a:gradFill>
                <a:gsLst>
                  <a:gs pos="0">
                    <a:srgbClr val="76B531"/>
                  </a:gs>
                  <a:gs pos="100000">
                    <a:srgbClr val="5B960C"/>
                  </a:gs>
                </a:gsLst>
                <a:lin ang="90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52" name="Oval 140"/>
              <p:cNvSpPr>
                <a:spLocks noChangeArrowheads="1"/>
              </p:cNvSpPr>
              <p:nvPr/>
            </p:nvSpPr>
            <p:spPr bwMode="auto">
              <a:xfrm>
                <a:off x="2573" y="1357"/>
                <a:ext cx="57" cy="59"/>
              </a:xfrm>
              <a:prstGeom prst="ellipse">
                <a:avLst/>
              </a:prstGeom>
              <a:gradFill>
                <a:gsLst>
                  <a:gs pos="100000">
                    <a:srgbClr val="EC880E"/>
                  </a:gs>
                  <a:gs pos="0">
                    <a:srgbClr val="FFC00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53" name="Oval 141"/>
              <p:cNvSpPr>
                <a:spLocks noChangeArrowheads="1"/>
              </p:cNvSpPr>
              <p:nvPr/>
            </p:nvSpPr>
            <p:spPr bwMode="auto">
              <a:xfrm>
                <a:off x="3065" y="1362"/>
                <a:ext cx="59" cy="57"/>
              </a:xfrm>
              <a:prstGeom prst="ellipse">
                <a:avLst/>
              </a:prstGeom>
              <a:gradFill>
                <a:gsLst>
                  <a:gs pos="0">
                    <a:srgbClr val="76B531"/>
                  </a:gs>
                  <a:gs pos="100000">
                    <a:srgbClr val="5B960C"/>
                  </a:gs>
                </a:gsLst>
                <a:lin ang="90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54" name="Oval 142"/>
              <p:cNvSpPr>
                <a:spLocks noChangeArrowheads="1"/>
              </p:cNvSpPr>
              <p:nvPr/>
            </p:nvSpPr>
            <p:spPr bwMode="auto">
              <a:xfrm>
                <a:off x="2968" y="1610"/>
                <a:ext cx="57" cy="57"/>
              </a:xfrm>
              <a:prstGeom prst="ellipse">
                <a:avLst/>
              </a:prstGeom>
              <a:gradFill>
                <a:gsLst>
                  <a:gs pos="0">
                    <a:srgbClr val="F05F55"/>
                  </a:gs>
                  <a:gs pos="100000">
                    <a:srgbClr val="D7190F"/>
                  </a:gs>
                </a:gsLst>
                <a:lin ang="54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55" name="Oval 143"/>
              <p:cNvSpPr>
                <a:spLocks noChangeArrowheads="1"/>
              </p:cNvSpPr>
              <p:nvPr/>
            </p:nvSpPr>
            <p:spPr bwMode="auto">
              <a:xfrm>
                <a:off x="2873" y="790"/>
                <a:ext cx="57" cy="59"/>
              </a:xfrm>
              <a:prstGeom prst="ellipse">
                <a:avLst/>
              </a:prstGeom>
              <a:gradFill>
                <a:gsLst>
                  <a:gs pos="100000">
                    <a:srgbClr val="EC880E"/>
                  </a:gs>
                  <a:gs pos="0">
                    <a:srgbClr val="FFC00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56" name="Oval 144"/>
              <p:cNvSpPr>
                <a:spLocks noChangeArrowheads="1"/>
              </p:cNvSpPr>
              <p:nvPr/>
            </p:nvSpPr>
            <p:spPr bwMode="auto">
              <a:xfrm>
                <a:off x="3178" y="923"/>
                <a:ext cx="57" cy="56"/>
              </a:xfrm>
              <a:prstGeom prst="ellipse">
                <a:avLst/>
              </a:prstGeom>
              <a:gradFill>
                <a:gsLst>
                  <a:gs pos="0">
                    <a:srgbClr val="76B531"/>
                  </a:gs>
                  <a:gs pos="100000">
                    <a:srgbClr val="5B960C"/>
                  </a:gs>
                </a:gsLst>
                <a:lin ang="90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57" name="Oval 145"/>
              <p:cNvSpPr>
                <a:spLocks noChangeArrowheads="1"/>
              </p:cNvSpPr>
              <p:nvPr/>
            </p:nvSpPr>
            <p:spPr bwMode="auto">
              <a:xfrm>
                <a:off x="3254" y="1707"/>
                <a:ext cx="57" cy="59"/>
              </a:xfrm>
              <a:prstGeom prst="ellipse">
                <a:avLst/>
              </a:prstGeom>
              <a:gradFill>
                <a:gsLst>
                  <a:gs pos="0">
                    <a:srgbClr val="F05F55"/>
                  </a:gs>
                  <a:gs pos="100000">
                    <a:srgbClr val="D7190F"/>
                  </a:gs>
                </a:gsLst>
                <a:lin ang="54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58" name="Oval 146"/>
              <p:cNvSpPr>
                <a:spLocks noChangeArrowheads="1"/>
              </p:cNvSpPr>
              <p:nvPr/>
            </p:nvSpPr>
            <p:spPr bwMode="auto">
              <a:xfrm>
                <a:off x="3119" y="2139"/>
                <a:ext cx="57" cy="59"/>
              </a:xfrm>
              <a:prstGeom prst="ellipse">
                <a:avLst/>
              </a:prstGeom>
              <a:gradFill>
                <a:gsLst>
                  <a:gs pos="0">
                    <a:srgbClr val="76B531"/>
                  </a:gs>
                  <a:gs pos="100000">
                    <a:srgbClr val="5B960C"/>
                  </a:gs>
                </a:gsLst>
                <a:lin ang="90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59" name="Oval 147"/>
              <p:cNvSpPr>
                <a:spLocks noChangeArrowheads="1"/>
              </p:cNvSpPr>
              <p:nvPr/>
            </p:nvSpPr>
            <p:spPr bwMode="auto">
              <a:xfrm>
                <a:off x="2994" y="2170"/>
                <a:ext cx="57" cy="59"/>
              </a:xfrm>
              <a:prstGeom prst="ellipse">
                <a:avLst/>
              </a:prstGeom>
              <a:gradFill>
                <a:gsLst>
                  <a:gs pos="0">
                    <a:srgbClr val="76B531"/>
                  </a:gs>
                  <a:gs pos="100000">
                    <a:srgbClr val="5B960C"/>
                  </a:gs>
                </a:gsLst>
                <a:lin ang="90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60" name="Oval 148"/>
              <p:cNvSpPr>
                <a:spLocks noChangeArrowheads="1"/>
              </p:cNvSpPr>
              <p:nvPr/>
            </p:nvSpPr>
            <p:spPr bwMode="auto">
              <a:xfrm>
                <a:off x="2557" y="2172"/>
                <a:ext cx="56" cy="59"/>
              </a:xfrm>
              <a:prstGeom prst="ellipse">
                <a:avLst/>
              </a:prstGeom>
              <a:gradFill>
                <a:gsLst>
                  <a:gs pos="0">
                    <a:srgbClr val="F05F55"/>
                  </a:gs>
                  <a:gs pos="100000">
                    <a:srgbClr val="D7190F"/>
                  </a:gs>
                </a:gsLst>
                <a:lin ang="54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61" name="Oval 149"/>
              <p:cNvSpPr>
                <a:spLocks noChangeArrowheads="1"/>
              </p:cNvSpPr>
              <p:nvPr/>
            </p:nvSpPr>
            <p:spPr bwMode="auto">
              <a:xfrm>
                <a:off x="2618" y="1735"/>
                <a:ext cx="81" cy="81"/>
              </a:xfrm>
              <a:prstGeom prst="ellipse">
                <a:avLst/>
              </a:prstGeom>
              <a:gradFill>
                <a:gsLst>
                  <a:gs pos="100000">
                    <a:srgbClr val="EC880E"/>
                  </a:gs>
                  <a:gs pos="0">
                    <a:srgbClr val="FFC00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62" name="Oval 150"/>
              <p:cNvSpPr>
                <a:spLocks noChangeArrowheads="1"/>
              </p:cNvSpPr>
              <p:nvPr/>
            </p:nvSpPr>
            <p:spPr bwMode="auto">
              <a:xfrm>
                <a:off x="2989" y="1809"/>
                <a:ext cx="81" cy="80"/>
              </a:xfrm>
              <a:prstGeom prst="ellipse">
                <a:avLst/>
              </a:prstGeom>
              <a:gradFill>
                <a:gsLst>
                  <a:gs pos="0">
                    <a:srgbClr val="76B531"/>
                  </a:gs>
                  <a:gs pos="100000">
                    <a:srgbClr val="5B960C"/>
                  </a:gs>
                </a:gsLst>
                <a:lin ang="90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63" name="Oval 151"/>
              <p:cNvSpPr>
                <a:spLocks noChangeArrowheads="1"/>
              </p:cNvSpPr>
              <p:nvPr/>
            </p:nvSpPr>
            <p:spPr bwMode="auto">
              <a:xfrm>
                <a:off x="2994" y="2009"/>
                <a:ext cx="80" cy="81"/>
              </a:xfrm>
              <a:prstGeom prst="ellipse">
                <a:avLst/>
              </a:prstGeom>
              <a:gradFill>
                <a:gsLst>
                  <a:gs pos="0">
                    <a:srgbClr val="76B531"/>
                  </a:gs>
                  <a:gs pos="100000">
                    <a:srgbClr val="5B960C"/>
                  </a:gs>
                </a:gsLst>
                <a:lin ang="90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64" name="Oval 152"/>
              <p:cNvSpPr>
                <a:spLocks noChangeArrowheads="1"/>
              </p:cNvSpPr>
              <p:nvPr/>
            </p:nvSpPr>
            <p:spPr bwMode="auto">
              <a:xfrm>
                <a:off x="2694" y="1991"/>
                <a:ext cx="80" cy="80"/>
              </a:xfrm>
              <a:prstGeom prst="ellipse">
                <a:avLst/>
              </a:prstGeom>
              <a:gradFill>
                <a:gsLst>
                  <a:gs pos="100000">
                    <a:srgbClr val="0070C0"/>
                  </a:gs>
                  <a:gs pos="0">
                    <a:srgbClr val="00B0F0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65" name="Oval 153"/>
              <p:cNvSpPr>
                <a:spLocks noChangeArrowheads="1"/>
              </p:cNvSpPr>
              <p:nvPr/>
            </p:nvSpPr>
            <p:spPr bwMode="auto">
              <a:xfrm>
                <a:off x="2583" y="1483"/>
                <a:ext cx="80" cy="80"/>
              </a:xfrm>
              <a:prstGeom prst="ellipse">
                <a:avLst/>
              </a:prstGeom>
              <a:gradFill>
                <a:gsLst>
                  <a:gs pos="0">
                    <a:srgbClr val="56C7CA"/>
                  </a:gs>
                  <a:gs pos="100000">
                    <a:srgbClr val="11817E"/>
                  </a:gs>
                </a:gsLst>
                <a:lin ang="7200000" scaled="0"/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38100" h="12700"/>
                <a:bevelB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p>
                <a:pPr algn="ctr"/>
                <a:endParaRPr lang="zh-CN" altLang="en-US">
                  <a:solidFill>
                    <a:schemeClr val="lt1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166" name="Freeform 154"/>
              <p:cNvSpPr/>
              <p:nvPr/>
            </p:nvSpPr>
            <p:spPr bwMode="auto">
              <a:xfrm>
                <a:off x="2810" y="1787"/>
                <a:ext cx="87" cy="90"/>
              </a:xfrm>
              <a:custGeom>
                <a:avLst/>
                <a:gdLst>
                  <a:gd name="T0" fmla="*/ 18 w 37"/>
                  <a:gd name="T1" fmla="*/ 38 h 38"/>
                  <a:gd name="T2" fmla="*/ 14 w 37"/>
                  <a:gd name="T3" fmla="*/ 33 h 38"/>
                  <a:gd name="T4" fmla="*/ 14 w 37"/>
                  <a:gd name="T5" fmla="*/ 23 h 38"/>
                  <a:gd name="T6" fmla="*/ 4 w 37"/>
                  <a:gd name="T7" fmla="*/ 23 h 38"/>
                  <a:gd name="T8" fmla="*/ 0 w 37"/>
                  <a:gd name="T9" fmla="*/ 19 h 38"/>
                  <a:gd name="T10" fmla="*/ 4 w 37"/>
                  <a:gd name="T11" fmla="*/ 15 h 38"/>
                  <a:gd name="T12" fmla="*/ 14 w 37"/>
                  <a:gd name="T13" fmla="*/ 15 h 38"/>
                  <a:gd name="T14" fmla="*/ 14 w 37"/>
                  <a:gd name="T15" fmla="*/ 4 h 38"/>
                  <a:gd name="T16" fmla="*/ 18 w 37"/>
                  <a:gd name="T17" fmla="*/ 0 h 38"/>
                  <a:gd name="T18" fmla="*/ 23 w 37"/>
                  <a:gd name="T19" fmla="*/ 4 h 38"/>
                  <a:gd name="T20" fmla="*/ 23 w 37"/>
                  <a:gd name="T21" fmla="*/ 15 h 38"/>
                  <a:gd name="T22" fmla="*/ 33 w 37"/>
                  <a:gd name="T23" fmla="*/ 15 h 38"/>
                  <a:gd name="T24" fmla="*/ 37 w 37"/>
                  <a:gd name="T25" fmla="*/ 19 h 38"/>
                  <a:gd name="T26" fmla="*/ 33 w 37"/>
                  <a:gd name="T27" fmla="*/ 23 h 38"/>
                  <a:gd name="T28" fmla="*/ 23 w 37"/>
                  <a:gd name="T29" fmla="*/ 23 h 38"/>
                  <a:gd name="T30" fmla="*/ 23 w 37"/>
                  <a:gd name="T31" fmla="*/ 33 h 38"/>
                  <a:gd name="T32" fmla="*/ 18 w 37"/>
                  <a:gd name="T33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7" h="38">
                    <a:moveTo>
                      <a:pt x="18" y="38"/>
                    </a:moveTo>
                    <a:cubicBezTo>
                      <a:pt x="16" y="38"/>
                      <a:pt x="14" y="36"/>
                      <a:pt x="14" y="33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2" y="23"/>
                      <a:pt x="0" y="21"/>
                      <a:pt x="0" y="19"/>
                    </a:cubicBezTo>
                    <a:cubicBezTo>
                      <a:pt x="0" y="17"/>
                      <a:pt x="2" y="15"/>
                      <a:pt x="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2"/>
                      <a:pt x="16" y="0"/>
                      <a:pt x="18" y="0"/>
                    </a:cubicBezTo>
                    <a:cubicBezTo>
                      <a:pt x="21" y="0"/>
                      <a:pt x="23" y="2"/>
                      <a:pt x="23" y="4"/>
                    </a:cubicBezTo>
                    <a:cubicBezTo>
                      <a:pt x="23" y="15"/>
                      <a:pt x="23" y="15"/>
                      <a:pt x="23" y="15"/>
                    </a:cubicBezTo>
                    <a:cubicBezTo>
                      <a:pt x="33" y="15"/>
                      <a:pt x="33" y="15"/>
                      <a:pt x="33" y="15"/>
                    </a:cubicBezTo>
                    <a:cubicBezTo>
                      <a:pt x="35" y="15"/>
                      <a:pt x="37" y="17"/>
                      <a:pt x="37" y="19"/>
                    </a:cubicBezTo>
                    <a:cubicBezTo>
                      <a:pt x="37" y="21"/>
                      <a:pt x="35" y="23"/>
                      <a:pt x="33" y="23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3" y="33"/>
                      <a:pt x="23" y="33"/>
                      <a:pt x="23" y="33"/>
                    </a:cubicBezTo>
                    <a:cubicBezTo>
                      <a:pt x="23" y="36"/>
                      <a:pt x="21" y="38"/>
                      <a:pt x="18" y="3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p>
                <a:endParaRPr lang="zh-CN" altLang="en-US"/>
              </a:p>
            </p:txBody>
          </p:sp>
        </p:grp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749800" y="3307715"/>
            <a:ext cx="4900295" cy="575945"/>
          </a:xfrm>
        </p:spPr>
        <p:txBody>
          <a:bodyPr>
            <a:normAutofit fontScale="90000"/>
          </a:bodyPr>
          <a:lstStyle/>
          <a:p>
            <a:r>
              <a:rPr lang="zh-CN" altLang="en-US" sz="3600">
                <a:solidFill>
                  <a:schemeClr val="accent3"/>
                </a:solidFill>
              </a:rPr>
              <a:t>规则范围选取的基本方法</a:t>
            </a:r>
            <a:endParaRPr lang="zh-CN" altLang="en-US" sz="3600">
              <a:solidFill>
                <a:schemeClr val="accent3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479997" y="3148020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13971" y="4700478"/>
            <a:ext cx="9471552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10609243" y="4700478"/>
            <a:ext cx="1596728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规则范围选取的基本方法</a:t>
            </a:r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 rot="2700000">
            <a:off x="6640801" y="2692018"/>
            <a:ext cx="574574" cy="574574"/>
          </a:xfrm>
          <a:prstGeom prst="rect">
            <a:avLst/>
          </a:prstGeom>
          <a:solidFill>
            <a:srgbClr val="FC6C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>
                  <a:lumMod val="65000"/>
                  <a:lumOff val="35000"/>
                </a:prstClr>
              </a:solidFill>
              <a:latin typeface="Agency FB" panose="020B0503020202020204" pitchFamily="34" charset="0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6768285" y="2813609"/>
            <a:ext cx="319607" cy="331392"/>
            <a:chOff x="26712863" y="-9386888"/>
            <a:chExt cx="731838" cy="758825"/>
          </a:xfrm>
          <a:solidFill>
            <a:srgbClr val="191E22"/>
          </a:solidFill>
        </p:grpSpPr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26712863" y="-9386888"/>
              <a:ext cx="731838" cy="758825"/>
            </a:xfrm>
            <a:custGeom>
              <a:avLst/>
              <a:gdLst>
                <a:gd name="T0" fmla="*/ 0 w 461"/>
                <a:gd name="T1" fmla="*/ 0 h 478"/>
                <a:gd name="T2" fmla="*/ 0 w 461"/>
                <a:gd name="T3" fmla="*/ 384 h 478"/>
                <a:gd name="T4" fmla="*/ 87 w 461"/>
                <a:gd name="T5" fmla="*/ 384 h 478"/>
                <a:gd name="T6" fmla="*/ 87 w 461"/>
                <a:gd name="T7" fmla="*/ 478 h 478"/>
                <a:gd name="T8" fmla="*/ 205 w 461"/>
                <a:gd name="T9" fmla="*/ 384 h 478"/>
                <a:gd name="T10" fmla="*/ 461 w 461"/>
                <a:gd name="T11" fmla="*/ 384 h 478"/>
                <a:gd name="T12" fmla="*/ 461 w 461"/>
                <a:gd name="T13" fmla="*/ 0 h 478"/>
                <a:gd name="T14" fmla="*/ 0 w 461"/>
                <a:gd name="T15" fmla="*/ 0 h 478"/>
                <a:gd name="T16" fmla="*/ 423 w 461"/>
                <a:gd name="T17" fmla="*/ 346 h 478"/>
                <a:gd name="T18" fmla="*/ 194 w 461"/>
                <a:gd name="T19" fmla="*/ 346 h 478"/>
                <a:gd name="T20" fmla="*/ 125 w 461"/>
                <a:gd name="T21" fmla="*/ 400 h 478"/>
                <a:gd name="T22" fmla="*/ 125 w 461"/>
                <a:gd name="T23" fmla="*/ 346 h 478"/>
                <a:gd name="T24" fmla="*/ 37 w 461"/>
                <a:gd name="T25" fmla="*/ 346 h 478"/>
                <a:gd name="T26" fmla="*/ 37 w 461"/>
                <a:gd name="T27" fmla="*/ 38 h 478"/>
                <a:gd name="T28" fmla="*/ 423 w 461"/>
                <a:gd name="T29" fmla="*/ 38 h 478"/>
                <a:gd name="T30" fmla="*/ 423 w 461"/>
                <a:gd name="T31" fmla="*/ 346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1" h="478">
                  <a:moveTo>
                    <a:pt x="0" y="0"/>
                  </a:moveTo>
                  <a:lnTo>
                    <a:pt x="0" y="384"/>
                  </a:lnTo>
                  <a:lnTo>
                    <a:pt x="87" y="384"/>
                  </a:lnTo>
                  <a:lnTo>
                    <a:pt x="87" y="478"/>
                  </a:lnTo>
                  <a:lnTo>
                    <a:pt x="205" y="384"/>
                  </a:lnTo>
                  <a:lnTo>
                    <a:pt x="461" y="384"/>
                  </a:lnTo>
                  <a:lnTo>
                    <a:pt x="461" y="0"/>
                  </a:lnTo>
                  <a:lnTo>
                    <a:pt x="0" y="0"/>
                  </a:lnTo>
                  <a:close/>
                  <a:moveTo>
                    <a:pt x="423" y="346"/>
                  </a:moveTo>
                  <a:lnTo>
                    <a:pt x="194" y="346"/>
                  </a:lnTo>
                  <a:lnTo>
                    <a:pt x="125" y="400"/>
                  </a:lnTo>
                  <a:lnTo>
                    <a:pt x="125" y="346"/>
                  </a:lnTo>
                  <a:lnTo>
                    <a:pt x="37" y="346"/>
                  </a:lnTo>
                  <a:lnTo>
                    <a:pt x="37" y="38"/>
                  </a:lnTo>
                  <a:lnTo>
                    <a:pt x="423" y="38"/>
                  </a:lnTo>
                  <a:lnTo>
                    <a:pt x="423" y="3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>
                    <a:lumMod val="65000"/>
                    <a:lumOff val="35000"/>
                  </a:prst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26892251" y="-9115426"/>
              <a:ext cx="368300" cy="587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>
                    <a:lumMod val="65000"/>
                    <a:lumOff val="35000"/>
                  </a:prst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26892251" y="-9026526"/>
              <a:ext cx="98425" cy="603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>
                    <a:lumMod val="65000"/>
                    <a:lumOff val="35000"/>
                  </a:prst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27043063" y="-9026526"/>
              <a:ext cx="217488" cy="603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>
                    <a:lumMod val="65000"/>
                    <a:lumOff val="35000"/>
                  </a:prst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26892251" y="-9205913"/>
              <a:ext cx="195263" cy="603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>
                    <a:lumMod val="65000"/>
                    <a:lumOff val="35000"/>
                  </a:prst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27144663" y="-9205913"/>
              <a:ext cx="115888" cy="603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>
                    <a:lumMod val="65000"/>
                    <a:lumOff val="35000"/>
                  </a:prstClr>
                </a:solidFill>
                <a:latin typeface="Agency FB" panose="020B0503020202020204" pitchFamily="34" charset="0"/>
              </a:endParaRPr>
            </a:p>
          </p:txBody>
        </p:sp>
      </p:grpSp>
      <p:sp>
        <p:nvSpPr>
          <p:cNvPr id="15" name="矩形 14"/>
          <p:cNvSpPr/>
          <p:nvPr/>
        </p:nvSpPr>
        <p:spPr>
          <a:xfrm rot="2700000">
            <a:off x="5288549" y="1805485"/>
            <a:ext cx="574574" cy="574574"/>
          </a:xfrm>
          <a:prstGeom prst="rect">
            <a:avLst/>
          </a:prstGeom>
          <a:solidFill>
            <a:srgbClr val="FC6C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>
                  <a:lumMod val="65000"/>
                  <a:lumOff val="35000"/>
                </a:prstClr>
              </a:solidFill>
              <a:latin typeface="Agency FB" panose="020B0503020202020204" pitchFamily="34" charset="0"/>
            </a:endParaRPr>
          </a:p>
        </p:txBody>
      </p:sp>
      <p:grpSp>
        <p:nvGrpSpPr>
          <p:cNvPr id="16" name="组合 15"/>
          <p:cNvGrpSpPr/>
          <p:nvPr/>
        </p:nvGrpSpPr>
        <p:grpSpPr>
          <a:xfrm>
            <a:off x="5402168" y="1921184"/>
            <a:ext cx="347337" cy="343177"/>
            <a:chOff x="28849638" y="-9447213"/>
            <a:chExt cx="795338" cy="785812"/>
          </a:xfrm>
          <a:solidFill>
            <a:srgbClr val="191E22"/>
          </a:solidFill>
        </p:grpSpPr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28849638" y="-9299576"/>
              <a:ext cx="795338" cy="638175"/>
            </a:xfrm>
            <a:custGeom>
              <a:avLst/>
              <a:gdLst>
                <a:gd name="T0" fmla="*/ 72 w 212"/>
                <a:gd name="T1" fmla="*/ 92 h 170"/>
                <a:gd name="T2" fmla="*/ 44 w 212"/>
                <a:gd name="T3" fmla="*/ 82 h 170"/>
                <a:gd name="T4" fmla="*/ 0 w 212"/>
                <a:gd name="T5" fmla="*/ 126 h 170"/>
                <a:gd name="T6" fmla="*/ 44 w 212"/>
                <a:gd name="T7" fmla="*/ 170 h 170"/>
                <a:gd name="T8" fmla="*/ 88 w 212"/>
                <a:gd name="T9" fmla="*/ 126 h 170"/>
                <a:gd name="T10" fmla="*/ 88 w 212"/>
                <a:gd name="T11" fmla="*/ 51 h 170"/>
                <a:gd name="T12" fmla="*/ 196 w 212"/>
                <a:gd name="T13" fmla="*/ 21 h 170"/>
                <a:gd name="T14" fmla="*/ 196 w 212"/>
                <a:gd name="T15" fmla="*/ 56 h 170"/>
                <a:gd name="T16" fmla="*/ 168 w 212"/>
                <a:gd name="T17" fmla="*/ 46 h 170"/>
                <a:gd name="T18" fmla="*/ 124 w 212"/>
                <a:gd name="T19" fmla="*/ 90 h 170"/>
                <a:gd name="T20" fmla="*/ 168 w 212"/>
                <a:gd name="T21" fmla="*/ 134 h 170"/>
                <a:gd name="T22" fmla="*/ 212 w 212"/>
                <a:gd name="T23" fmla="*/ 92 h 170"/>
                <a:gd name="T24" fmla="*/ 212 w 212"/>
                <a:gd name="T25" fmla="*/ 92 h 170"/>
                <a:gd name="T26" fmla="*/ 212 w 212"/>
                <a:gd name="T27" fmla="*/ 0 h 170"/>
                <a:gd name="T28" fmla="*/ 72 w 212"/>
                <a:gd name="T29" fmla="*/ 38 h 170"/>
                <a:gd name="T30" fmla="*/ 72 w 212"/>
                <a:gd name="T31" fmla="*/ 92 h 170"/>
                <a:gd name="T32" fmla="*/ 168 w 212"/>
                <a:gd name="T33" fmla="*/ 118 h 170"/>
                <a:gd name="T34" fmla="*/ 140 w 212"/>
                <a:gd name="T35" fmla="*/ 90 h 170"/>
                <a:gd name="T36" fmla="*/ 168 w 212"/>
                <a:gd name="T37" fmla="*/ 62 h 170"/>
                <a:gd name="T38" fmla="*/ 196 w 212"/>
                <a:gd name="T39" fmla="*/ 90 h 170"/>
                <a:gd name="T40" fmla="*/ 168 w 212"/>
                <a:gd name="T41" fmla="*/ 118 h 170"/>
                <a:gd name="T42" fmla="*/ 44 w 212"/>
                <a:gd name="T43" fmla="*/ 154 h 170"/>
                <a:gd name="T44" fmla="*/ 16 w 212"/>
                <a:gd name="T45" fmla="*/ 126 h 170"/>
                <a:gd name="T46" fmla="*/ 44 w 212"/>
                <a:gd name="T47" fmla="*/ 98 h 170"/>
                <a:gd name="T48" fmla="*/ 72 w 212"/>
                <a:gd name="T49" fmla="*/ 126 h 170"/>
                <a:gd name="T50" fmla="*/ 44 w 212"/>
                <a:gd name="T51" fmla="*/ 154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12" h="170">
                  <a:moveTo>
                    <a:pt x="72" y="92"/>
                  </a:moveTo>
                  <a:cubicBezTo>
                    <a:pt x="65" y="86"/>
                    <a:pt x="55" y="82"/>
                    <a:pt x="44" y="82"/>
                  </a:cubicBezTo>
                  <a:cubicBezTo>
                    <a:pt x="20" y="82"/>
                    <a:pt x="0" y="102"/>
                    <a:pt x="0" y="126"/>
                  </a:cubicBezTo>
                  <a:cubicBezTo>
                    <a:pt x="0" y="150"/>
                    <a:pt x="20" y="170"/>
                    <a:pt x="44" y="170"/>
                  </a:cubicBezTo>
                  <a:cubicBezTo>
                    <a:pt x="69" y="170"/>
                    <a:pt x="88" y="150"/>
                    <a:pt x="88" y="126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196" y="21"/>
                    <a:pt x="196" y="21"/>
                    <a:pt x="196" y="21"/>
                  </a:cubicBezTo>
                  <a:cubicBezTo>
                    <a:pt x="196" y="56"/>
                    <a:pt x="196" y="56"/>
                    <a:pt x="196" y="56"/>
                  </a:cubicBezTo>
                  <a:cubicBezTo>
                    <a:pt x="188" y="50"/>
                    <a:pt x="179" y="46"/>
                    <a:pt x="168" y="46"/>
                  </a:cubicBezTo>
                  <a:cubicBezTo>
                    <a:pt x="144" y="46"/>
                    <a:pt x="124" y="66"/>
                    <a:pt x="124" y="90"/>
                  </a:cubicBezTo>
                  <a:cubicBezTo>
                    <a:pt x="124" y="114"/>
                    <a:pt x="144" y="134"/>
                    <a:pt x="168" y="134"/>
                  </a:cubicBezTo>
                  <a:cubicBezTo>
                    <a:pt x="192" y="134"/>
                    <a:pt x="211" y="115"/>
                    <a:pt x="212" y="92"/>
                  </a:cubicBezTo>
                  <a:cubicBezTo>
                    <a:pt x="212" y="92"/>
                    <a:pt x="212" y="92"/>
                    <a:pt x="212" y="92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72" y="38"/>
                    <a:pt x="72" y="38"/>
                    <a:pt x="72" y="38"/>
                  </a:cubicBezTo>
                  <a:lnTo>
                    <a:pt x="72" y="92"/>
                  </a:lnTo>
                  <a:close/>
                  <a:moveTo>
                    <a:pt x="168" y="118"/>
                  </a:moveTo>
                  <a:cubicBezTo>
                    <a:pt x="152" y="118"/>
                    <a:pt x="140" y="105"/>
                    <a:pt x="140" y="90"/>
                  </a:cubicBezTo>
                  <a:cubicBezTo>
                    <a:pt x="140" y="74"/>
                    <a:pt x="152" y="62"/>
                    <a:pt x="168" y="62"/>
                  </a:cubicBezTo>
                  <a:cubicBezTo>
                    <a:pt x="183" y="62"/>
                    <a:pt x="196" y="74"/>
                    <a:pt x="196" y="90"/>
                  </a:cubicBezTo>
                  <a:cubicBezTo>
                    <a:pt x="196" y="105"/>
                    <a:pt x="183" y="118"/>
                    <a:pt x="168" y="118"/>
                  </a:cubicBezTo>
                  <a:close/>
                  <a:moveTo>
                    <a:pt x="44" y="154"/>
                  </a:moveTo>
                  <a:cubicBezTo>
                    <a:pt x="29" y="154"/>
                    <a:pt x="16" y="142"/>
                    <a:pt x="16" y="126"/>
                  </a:cubicBezTo>
                  <a:cubicBezTo>
                    <a:pt x="16" y="111"/>
                    <a:pt x="29" y="98"/>
                    <a:pt x="44" y="98"/>
                  </a:cubicBezTo>
                  <a:cubicBezTo>
                    <a:pt x="60" y="98"/>
                    <a:pt x="72" y="111"/>
                    <a:pt x="72" y="126"/>
                  </a:cubicBezTo>
                  <a:cubicBezTo>
                    <a:pt x="72" y="142"/>
                    <a:pt x="60" y="154"/>
                    <a:pt x="44" y="15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>
                    <a:lumMod val="65000"/>
                    <a:lumOff val="35000"/>
                  </a:prst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18" name="Freeform 13"/>
            <p:cNvSpPr/>
            <p:nvPr/>
          </p:nvSpPr>
          <p:spPr bwMode="auto">
            <a:xfrm>
              <a:off x="29119513" y="-9447213"/>
              <a:ext cx="525463" cy="211138"/>
            </a:xfrm>
            <a:custGeom>
              <a:avLst/>
              <a:gdLst>
                <a:gd name="T0" fmla="*/ 0 w 331"/>
                <a:gd name="T1" fmla="*/ 95 h 133"/>
                <a:gd name="T2" fmla="*/ 0 w 331"/>
                <a:gd name="T3" fmla="*/ 133 h 133"/>
                <a:gd name="T4" fmla="*/ 331 w 331"/>
                <a:gd name="T5" fmla="*/ 38 h 133"/>
                <a:gd name="T6" fmla="*/ 331 w 331"/>
                <a:gd name="T7" fmla="*/ 0 h 133"/>
                <a:gd name="T8" fmla="*/ 0 w 331"/>
                <a:gd name="T9" fmla="*/ 95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1" h="133">
                  <a:moveTo>
                    <a:pt x="0" y="95"/>
                  </a:moveTo>
                  <a:lnTo>
                    <a:pt x="0" y="133"/>
                  </a:lnTo>
                  <a:lnTo>
                    <a:pt x="331" y="38"/>
                  </a:lnTo>
                  <a:lnTo>
                    <a:pt x="331" y="0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>
                    <a:lumMod val="65000"/>
                    <a:lumOff val="35000"/>
                  </a:prstClr>
                </a:solidFill>
                <a:latin typeface="Agency FB" panose="020B0503020202020204" pitchFamily="34" charset="0"/>
              </a:endParaRPr>
            </a:p>
          </p:txBody>
        </p:sp>
      </p:grpSp>
      <p:sp>
        <p:nvSpPr>
          <p:cNvPr id="20" name="矩形 19"/>
          <p:cNvSpPr/>
          <p:nvPr/>
        </p:nvSpPr>
        <p:spPr>
          <a:xfrm rot="2700000">
            <a:off x="5288549" y="5351614"/>
            <a:ext cx="574574" cy="574574"/>
          </a:xfrm>
          <a:prstGeom prst="rect">
            <a:avLst/>
          </a:prstGeom>
          <a:solidFill>
            <a:srgbClr val="FC6C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>
                  <a:lumMod val="65000"/>
                  <a:lumOff val="35000"/>
                </a:prstClr>
              </a:solidFill>
              <a:latin typeface="Agency FB" panose="020B0503020202020204" pitchFamily="34" charset="0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5422620" y="5485685"/>
            <a:ext cx="306433" cy="306433"/>
            <a:chOff x="31126113" y="-5078413"/>
            <a:chExt cx="701675" cy="701675"/>
          </a:xfrm>
          <a:solidFill>
            <a:srgbClr val="191E22"/>
          </a:solidFill>
        </p:grpSpPr>
        <p:sp>
          <p:nvSpPr>
            <p:cNvPr id="22" name="Freeform 14"/>
            <p:cNvSpPr>
              <a:spLocks noEditPoints="1"/>
            </p:cNvSpPr>
            <p:nvPr/>
          </p:nvSpPr>
          <p:spPr bwMode="auto">
            <a:xfrm>
              <a:off x="31126113" y="-5078413"/>
              <a:ext cx="701675" cy="701675"/>
            </a:xfrm>
            <a:custGeom>
              <a:avLst/>
              <a:gdLst>
                <a:gd name="T0" fmla="*/ 0 w 442"/>
                <a:gd name="T1" fmla="*/ 0 h 442"/>
                <a:gd name="T2" fmla="*/ 0 w 442"/>
                <a:gd name="T3" fmla="*/ 442 h 442"/>
                <a:gd name="T4" fmla="*/ 442 w 442"/>
                <a:gd name="T5" fmla="*/ 442 h 442"/>
                <a:gd name="T6" fmla="*/ 442 w 442"/>
                <a:gd name="T7" fmla="*/ 0 h 442"/>
                <a:gd name="T8" fmla="*/ 0 w 442"/>
                <a:gd name="T9" fmla="*/ 0 h 442"/>
                <a:gd name="T10" fmla="*/ 404 w 442"/>
                <a:gd name="T11" fmla="*/ 405 h 442"/>
                <a:gd name="T12" fmla="*/ 37 w 442"/>
                <a:gd name="T13" fmla="*/ 405 h 442"/>
                <a:gd name="T14" fmla="*/ 37 w 442"/>
                <a:gd name="T15" fmla="*/ 38 h 442"/>
                <a:gd name="T16" fmla="*/ 404 w 442"/>
                <a:gd name="T17" fmla="*/ 38 h 442"/>
                <a:gd name="T18" fmla="*/ 404 w 442"/>
                <a:gd name="T19" fmla="*/ 405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2" h="442">
                  <a:moveTo>
                    <a:pt x="0" y="0"/>
                  </a:moveTo>
                  <a:lnTo>
                    <a:pt x="0" y="442"/>
                  </a:lnTo>
                  <a:lnTo>
                    <a:pt x="442" y="442"/>
                  </a:lnTo>
                  <a:lnTo>
                    <a:pt x="442" y="0"/>
                  </a:lnTo>
                  <a:lnTo>
                    <a:pt x="0" y="0"/>
                  </a:lnTo>
                  <a:close/>
                  <a:moveTo>
                    <a:pt x="404" y="405"/>
                  </a:moveTo>
                  <a:lnTo>
                    <a:pt x="37" y="405"/>
                  </a:lnTo>
                  <a:lnTo>
                    <a:pt x="37" y="38"/>
                  </a:lnTo>
                  <a:lnTo>
                    <a:pt x="404" y="38"/>
                  </a:lnTo>
                  <a:lnTo>
                    <a:pt x="404" y="4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>
                    <a:lumMod val="65000"/>
                    <a:lumOff val="35000"/>
                  </a:prst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23" name="Freeform 15"/>
            <p:cNvSpPr/>
            <p:nvPr/>
          </p:nvSpPr>
          <p:spPr bwMode="auto">
            <a:xfrm>
              <a:off x="31395988" y="-4891088"/>
              <a:ext cx="192088" cy="315913"/>
            </a:xfrm>
            <a:custGeom>
              <a:avLst/>
              <a:gdLst>
                <a:gd name="T0" fmla="*/ 121 w 121"/>
                <a:gd name="T1" fmla="*/ 161 h 199"/>
                <a:gd name="T2" fmla="*/ 38 w 121"/>
                <a:gd name="T3" fmla="*/ 161 h 199"/>
                <a:gd name="T4" fmla="*/ 38 w 121"/>
                <a:gd name="T5" fmla="*/ 97 h 199"/>
                <a:gd name="T6" fmla="*/ 99 w 121"/>
                <a:gd name="T7" fmla="*/ 97 h 199"/>
                <a:gd name="T8" fmla="*/ 99 w 121"/>
                <a:gd name="T9" fmla="*/ 59 h 199"/>
                <a:gd name="T10" fmla="*/ 38 w 121"/>
                <a:gd name="T11" fmla="*/ 59 h 199"/>
                <a:gd name="T12" fmla="*/ 38 w 121"/>
                <a:gd name="T13" fmla="*/ 0 h 199"/>
                <a:gd name="T14" fmla="*/ 0 w 121"/>
                <a:gd name="T15" fmla="*/ 0 h 199"/>
                <a:gd name="T16" fmla="*/ 0 w 121"/>
                <a:gd name="T17" fmla="*/ 199 h 199"/>
                <a:gd name="T18" fmla="*/ 121 w 121"/>
                <a:gd name="T19" fmla="*/ 199 h 199"/>
                <a:gd name="T20" fmla="*/ 121 w 121"/>
                <a:gd name="T21" fmla="*/ 161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1" h="199">
                  <a:moveTo>
                    <a:pt x="121" y="161"/>
                  </a:moveTo>
                  <a:lnTo>
                    <a:pt x="38" y="161"/>
                  </a:lnTo>
                  <a:lnTo>
                    <a:pt x="38" y="97"/>
                  </a:lnTo>
                  <a:lnTo>
                    <a:pt x="99" y="97"/>
                  </a:lnTo>
                  <a:lnTo>
                    <a:pt x="99" y="59"/>
                  </a:lnTo>
                  <a:lnTo>
                    <a:pt x="38" y="59"/>
                  </a:lnTo>
                  <a:lnTo>
                    <a:pt x="38" y="0"/>
                  </a:lnTo>
                  <a:lnTo>
                    <a:pt x="0" y="0"/>
                  </a:lnTo>
                  <a:lnTo>
                    <a:pt x="0" y="199"/>
                  </a:lnTo>
                  <a:lnTo>
                    <a:pt x="121" y="199"/>
                  </a:lnTo>
                  <a:lnTo>
                    <a:pt x="121" y="16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>
                    <a:lumMod val="65000"/>
                    <a:lumOff val="35000"/>
                  </a:prstClr>
                </a:solidFill>
                <a:latin typeface="Agency FB" panose="020B0503020202020204" pitchFamily="34" charset="0"/>
              </a:endParaRPr>
            </a:p>
          </p:txBody>
        </p:sp>
      </p:grpSp>
      <p:sp>
        <p:nvSpPr>
          <p:cNvPr id="25" name="矩形 24"/>
          <p:cNvSpPr/>
          <p:nvPr/>
        </p:nvSpPr>
        <p:spPr>
          <a:xfrm rot="2700000">
            <a:off x="5288549" y="3578550"/>
            <a:ext cx="574574" cy="574574"/>
          </a:xfrm>
          <a:prstGeom prst="rect">
            <a:avLst/>
          </a:prstGeom>
          <a:solidFill>
            <a:srgbClr val="FC6C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>
                  <a:lumMod val="65000"/>
                  <a:lumOff val="35000"/>
                </a:prstClr>
              </a:solidFill>
              <a:latin typeface="Agency FB" panose="020B0503020202020204" pitchFamily="34" charset="0"/>
            </a:endParaRPr>
          </a:p>
        </p:txBody>
      </p:sp>
      <p:grpSp>
        <p:nvGrpSpPr>
          <p:cNvPr id="26" name="组合 25"/>
          <p:cNvGrpSpPr/>
          <p:nvPr/>
        </p:nvGrpSpPr>
        <p:grpSpPr>
          <a:xfrm>
            <a:off x="5409447" y="3699102"/>
            <a:ext cx="332778" cy="333471"/>
            <a:chOff x="26704926" y="-7291388"/>
            <a:chExt cx="762000" cy="763587"/>
          </a:xfrm>
          <a:solidFill>
            <a:srgbClr val="191E22"/>
          </a:solidFill>
        </p:grpSpPr>
        <p:sp>
          <p:nvSpPr>
            <p:cNvPr id="27" name="Freeform 16"/>
            <p:cNvSpPr>
              <a:spLocks noEditPoints="1"/>
            </p:cNvSpPr>
            <p:nvPr/>
          </p:nvSpPr>
          <p:spPr bwMode="auto">
            <a:xfrm>
              <a:off x="26741438" y="-7291388"/>
              <a:ext cx="725488" cy="725488"/>
            </a:xfrm>
            <a:custGeom>
              <a:avLst/>
              <a:gdLst>
                <a:gd name="T0" fmla="*/ 242 w 457"/>
                <a:gd name="T1" fmla="*/ 0 h 457"/>
                <a:gd name="T2" fmla="*/ 0 w 457"/>
                <a:gd name="T3" fmla="*/ 244 h 457"/>
                <a:gd name="T4" fmla="*/ 213 w 457"/>
                <a:gd name="T5" fmla="*/ 457 h 457"/>
                <a:gd name="T6" fmla="*/ 457 w 457"/>
                <a:gd name="T7" fmla="*/ 213 h 457"/>
                <a:gd name="T8" fmla="*/ 242 w 457"/>
                <a:gd name="T9" fmla="*/ 0 h 457"/>
                <a:gd name="T10" fmla="*/ 55 w 457"/>
                <a:gd name="T11" fmla="*/ 244 h 457"/>
                <a:gd name="T12" fmla="*/ 242 w 457"/>
                <a:gd name="T13" fmla="*/ 55 h 457"/>
                <a:gd name="T14" fmla="*/ 403 w 457"/>
                <a:gd name="T15" fmla="*/ 213 h 457"/>
                <a:gd name="T16" fmla="*/ 213 w 457"/>
                <a:gd name="T17" fmla="*/ 403 h 457"/>
                <a:gd name="T18" fmla="*/ 55 w 457"/>
                <a:gd name="T19" fmla="*/ 244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57" h="457">
                  <a:moveTo>
                    <a:pt x="242" y="0"/>
                  </a:moveTo>
                  <a:lnTo>
                    <a:pt x="0" y="244"/>
                  </a:lnTo>
                  <a:lnTo>
                    <a:pt x="213" y="457"/>
                  </a:lnTo>
                  <a:lnTo>
                    <a:pt x="457" y="213"/>
                  </a:lnTo>
                  <a:lnTo>
                    <a:pt x="242" y="0"/>
                  </a:lnTo>
                  <a:close/>
                  <a:moveTo>
                    <a:pt x="55" y="244"/>
                  </a:moveTo>
                  <a:lnTo>
                    <a:pt x="242" y="55"/>
                  </a:lnTo>
                  <a:lnTo>
                    <a:pt x="403" y="213"/>
                  </a:lnTo>
                  <a:lnTo>
                    <a:pt x="213" y="403"/>
                  </a:lnTo>
                  <a:lnTo>
                    <a:pt x="55" y="2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>
                    <a:lumMod val="65000"/>
                    <a:lumOff val="35000"/>
                  </a:prst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28" name="Freeform 17"/>
            <p:cNvSpPr>
              <a:spLocks noEditPoints="1"/>
            </p:cNvSpPr>
            <p:nvPr/>
          </p:nvSpPr>
          <p:spPr bwMode="auto">
            <a:xfrm>
              <a:off x="26704926" y="-6810376"/>
              <a:ext cx="280988" cy="282575"/>
            </a:xfrm>
            <a:custGeom>
              <a:avLst/>
              <a:gdLst>
                <a:gd name="T0" fmla="*/ 0 w 177"/>
                <a:gd name="T1" fmla="*/ 178 h 178"/>
                <a:gd name="T2" fmla="*/ 177 w 177"/>
                <a:gd name="T3" fmla="*/ 156 h 178"/>
                <a:gd name="T4" fmla="*/ 21 w 177"/>
                <a:gd name="T5" fmla="*/ 0 h 178"/>
                <a:gd name="T6" fmla="*/ 0 w 177"/>
                <a:gd name="T7" fmla="*/ 178 h 178"/>
                <a:gd name="T8" fmla="*/ 49 w 177"/>
                <a:gd name="T9" fmla="*/ 81 h 178"/>
                <a:gd name="T10" fmla="*/ 97 w 177"/>
                <a:gd name="T11" fmla="*/ 128 h 178"/>
                <a:gd name="T12" fmla="*/ 42 w 177"/>
                <a:gd name="T13" fmla="*/ 135 h 178"/>
                <a:gd name="T14" fmla="*/ 49 w 177"/>
                <a:gd name="T15" fmla="*/ 8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7" h="178">
                  <a:moveTo>
                    <a:pt x="0" y="178"/>
                  </a:moveTo>
                  <a:lnTo>
                    <a:pt x="177" y="156"/>
                  </a:lnTo>
                  <a:lnTo>
                    <a:pt x="21" y="0"/>
                  </a:lnTo>
                  <a:lnTo>
                    <a:pt x="0" y="178"/>
                  </a:lnTo>
                  <a:close/>
                  <a:moveTo>
                    <a:pt x="49" y="81"/>
                  </a:moveTo>
                  <a:lnTo>
                    <a:pt x="97" y="128"/>
                  </a:lnTo>
                  <a:lnTo>
                    <a:pt x="42" y="135"/>
                  </a:lnTo>
                  <a:lnTo>
                    <a:pt x="49" y="8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>
                    <a:lumMod val="65000"/>
                    <a:lumOff val="35000"/>
                  </a:prstClr>
                </a:solidFill>
                <a:latin typeface="Agency FB" panose="020B0503020202020204" pitchFamily="34" charset="0"/>
              </a:endParaRPr>
            </a:p>
          </p:txBody>
        </p:sp>
      </p:grpSp>
      <p:sp>
        <p:nvSpPr>
          <p:cNvPr id="30" name="矩形 29"/>
          <p:cNvSpPr/>
          <p:nvPr/>
        </p:nvSpPr>
        <p:spPr>
          <a:xfrm rot="2700000">
            <a:off x="6640801" y="4465082"/>
            <a:ext cx="574574" cy="574574"/>
          </a:xfrm>
          <a:prstGeom prst="rect">
            <a:avLst/>
          </a:prstGeom>
          <a:solidFill>
            <a:srgbClr val="FC6C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black">
                  <a:lumMod val="65000"/>
                  <a:lumOff val="35000"/>
                </a:prstClr>
              </a:solidFill>
              <a:latin typeface="Agency FB" panose="020B0503020202020204" pitchFamily="34" charset="0"/>
            </a:endParaRPr>
          </a:p>
        </p:txBody>
      </p:sp>
      <p:grpSp>
        <p:nvGrpSpPr>
          <p:cNvPr id="31" name="组合 30"/>
          <p:cNvGrpSpPr/>
          <p:nvPr/>
        </p:nvGrpSpPr>
        <p:grpSpPr>
          <a:xfrm>
            <a:off x="6744367" y="4608165"/>
            <a:ext cx="367443" cy="288408"/>
            <a:chOff x="24461788" y="-2840038"/>
            <a:chExt cx="841375" cy="660400"/>
          </a:xfrm>
          <a:solidFill>
            <a:srgbClr val="191E22"/>
          </a:solidFill>
        </p:grpSpPr>
        <p:sp>
          <p:nvSpPr>
            <p:cNvPr id="32" name="Freeform 18"/>
            <p:cNvSpPr>
              <a:spLocks noEditPoints="1"/>
            </p:cNvSpPr>
            <p:nvPr/>
          </p:nvSpPr>
          <p:spPr bwMode="auto">
            <a:xfrm>
              <a:off x="24461788" y="-2840038"/>
              <a:ext cx="841375" cy="660400"/>
            </a:xfrm>
            <a:custGeom>
              <a:avLst/>
              <a:gdLst>
                <a:gd name="T0" fmla="*/ 530 w 530"/>
                <a:gd name="T1" fmla="*/ 116 h 416"/>
                <a:gd name="T2" fmla="*/ 473 w 530"/>
                <a:gd name="T3" fmla="*/ 28 h 416"/>
                <a:gd name="T4" fmla="*/ 429 w 530"/>
                <a:gd name="T5" fmla="*/ 57 h 416"/>
                <a:gd name="T6" fmla="*/ 429 w 530"/>
                <a:gd name="T7" fmla="*/ 0 h 416"/>
                <a:gd name="T8" fmla="*/ 0 w 530"/>
                <a:gd name="T9" fmla="*/ 0 h 416"/>
                <a:gd name="T10" fmla="*/ 0 w 530"/>
                <a:gd name="T11" fmla="*/ 416 h 416"/>
                <a:gd name="T12" fmla="*/ 429 w 530"/>
                <a:gd name="T13" fmla="*/ 416 h 416"/>
                <a:gd name="T14" fmla="*/ 429 w 530"/>
                <a:gd name="T15" fmla="*/ 185 h 416"/>
                <a:gd name="T16" fmla="*/ 530 w 530"/>
                <a:gd name="T17" fmla="*/ 116 h 416"/>
                <a:gd name="T18" fmla="*/ 478 w 530"/>
                <a:gd name="T19" fmla="*/ 107 h 416"/>
                <a:gd name="T20" fmla="*/ 279 w 530"/>
                <a:gd name="T21" fmla="*/ 237 h 416"/>
                <a:gd name="T22" fmla="*/ 263 w 530"/>
                <a:gd name="T23" fmla="*/ 211 h 416"/>
                <a:gd name="T24" fmla="*/ 462 w 530"/>
                <a:gd name="T25" fmla="*/ 80 h 416"/>
                <a:gd name="T26" fmla="*/ 478 w 530"/>
                <a:gd name="T27" fmla="*/ 107 h 416"/>
                <a:gd name="T28" fmla="*/ 391 w 530"/>
                <a:gd name="T29" fmla="*/ 379 h 416"/>
                <a:gd name="T30" fmla="*/ 38 w 530"/>
                <a:gd name="T31" fmla="*/ 379 h 416"/>
                <a:gd name="T32" fmla="*/ 38 w 530"/>
                <a:gd name="T33" fmla="*/ 38 h 416"/>
                <a:gd name="T34" fmla="*/ 391 w 530"/>
                <a:gd name="T35" fmla="*/ 38 h 416"/>
                <a:gd name="T36" fmla="*/ 391 w 530"/>
                <a:gd name="T37" fmla="*/ 83 h 416"/>
                <a:gd name="T38" fmla="*/ 211 w 530"/>
                <a:gd name="T39" fmla="*/ 201 h 416"/>
                <a:gd name="T40" fmla="*/ 268 w 530"/>
                <a:gd name="T41" fmla="*/ 289 h 416"/>
                <a:gd name="T42" fmla="*/ 391 w 530"/>
                <a:gd name="T43" fmla="*/ 211 h 416"/>
                <a:gd name="T44" fmla="*/ 391 w 530"/>
                <a:gd name="T45" fmla="*/ 379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30" h="416">
                  <a:moveTo>
                    <a:pt x="530" y="116"/>
                  </a:moveTo>
                  <a:lnTo>
                    <a:pt x="473" y="28"/>
                  </a:lnTo>
                  <a:lnTo>
                    <a:pt x="429" y="57"/>
                  </a:lnTo>
                  <a:lnTo>
                    <a:pt x="429" y="0"/>
                  </a:lnTo>
                  <a:lnTo>
                    <a:pt x="0" y="0"/>
                  </a:lnTo>
                  <a:lnTo>
                    <a:pt x="0" y="416"/>
                  </a:lnTo>
                  <a:lnTo>
                    <a:pt x="429" y="416"/>
                  </a:lnTo>
                  <a:lnTo>
                    <a:pt x="429" y="185"/>
                  </a:lnTo>
                  <a:lnTo>
                    <a:pt x="530" y="116"/>
                  </a:lnTo>
                  <a:close/>
                  <a:moveTo>
                    <a:pt x="478" y="107"/>
                  </a:moveTo>
                  <a:lnTo>
                    <a:pt x="279" y="237"/>
                  </a:lnTo>
                  <a:lnTo>
                    <a:pt x="263" y="211"/>
                  </a:lnTo>
                  <a:lnTo>
                    <a:pt x="462" y="80"/>
                  </a:lnTo>
                  <a:lnTo>
                    <a:pt x="478" y="107"/>
                  </a:lnTo>
                  <a:close/>
                  <a:moveTo>
                    <a:pt x="391" y="379"/>
                  </a:moveTo>
                  <a:lnTo>
                    <a:pt x="38" y="379"/>
                  </a:lnTo>
                  <a:lnTo>
                    <a:pt x="38" y="38"/>
                  </a:lnTo>
                  <a:lnTo>
                    <a:pt x="391" y="38"/>
                  </a:lnTo>
                  <a:lnTo>
                    <a:pt x="391" y="83"/>
                  </a:lnTo>
                  <a:lnTo>
                    <a:pt x="211" y="201"/>
                  </a:lnTo>
                  <a:lnTo>
                    <a:pt x="268" y="289"/>
                  </a:lnTo>
                  <a:lnTo>
                    <a:pt x="391" y="211"/>
                  </a:lnTo>
                  <a:lnTo>
                    <a:pt x="391" y="37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>
                    <a:lumMod val="65000"/>
                    <a:lumOff val="35000"/>
                  </a:prstClr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33" name="Freeform 19"/>
            <p:cNvSpPr/>
            <p:nvPr/>
          </p:nvSpPr>
          <p:spPr bwMode="auto">
            <a:xfrm>
              <a:off x="24698326" y="-2449513"/>
              <a:ext cx="101600" cy="90488"/>
            </a:xfrm>
            <a:custGeom>
              <a:avLst/>
              <a:gdLst>
                <a:gd name="T0" fmla="*/ 22 w 64"/>
                <a:gd name="T1" fmla="*/ 14 h 57"/>
                <a:gd name="T2" fmla="*/ 0 w 64"/>
                <a:gd name="T3" fmla="*/ 57 h 57"/>
                <a:gd name="T4" fmla="*/ 48 w 64"/>
                <a:gd name="T5" fmla="*/ 55 h 57"/>
                <a:gd name="T6" fmla="*/ 64 w 64"/>
                <a:gd name="T7" fmla="*/ 55 h 57"/>
                <a:gd name="T8" fmla="*/ 29 w 64"/>
                <a:gd name="T9" fmla="*/ 0 h 57"/>
                <a:gd name="T10" fmla="*/ 22 w 64"/>
                <a:gd name="T11" fmla="*/ 14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57">
                  <a:moveTo>
                    <a:pt x="22" y="14"/>
                  </a:moveTo>
                  <a:lnTo>
                    <a:pt x="0" y="57"/>
                  </a:lnTo>
                  <a:lnTo>
                    <a:pt x="48" y="55"/>
                  </a:lnTo>
                  <a:lnTo>
                    <a:pt x="64" y="55"/>
                  </a:lnTo>
                  <a:lnTo>
                    <a:pt x="29" y="0"/>
                  </a:lnTo>
                  <a:lnTo>
                    <a:pt x="22" y="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>
                    <a:lumMod val="65000"/>
                    <a:lumOff val="35000"/>
                  </a:prstClr>
                </a:solidFill>
                <a:latin typeface="Agency FB" panose="020B0503020202020204" pitchFamily="34" charset="0"/>
              </a:endParaRPr>
            </a:p>
          </p:txBody>
        </p:sp>
      </p:grpSp>
      <p:cxnSp>
        <p:nvCxnSpPr>
          <p:cNvPr id="34" name="直接连接符 33"/>
          <p:cNvCxnSpPr/>
          <p:nvPr/>
        </p:nvCxnSpPr>
        <p:spPr>
          <a:xfrm>
            <a:off x="5579019" y="2460925"/>
            <a:ext cx="0" cy="1027111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/>
          <p:cNvCxnSpPr/>
          <p:nvPr/>
        </p:nvCxnSpPr>
        <p:spPr>
          <a:xfrm>
            <a:off x="5579019" y="4253896"/>
            <a:ext cx="0" cy="1020079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/>
          <p:cNvCxnSpPr/>
          <p:nvPr/>
        </p:nvCxnSpPr>
        <p:spPr>
          <a:xfrm flipH="1">
            <a:off x="5579020" y="2973519"/>
            <a:ext cx="960522" cy="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/>
          <p:cNvCxnSpPr/>
          <p:nvPr/>
        </p:nvCxnSpPr>
        <p:spPr>
          <a:xfrm flipH="1">
            <a:off x="5579020" y="4750726"/>
            <a:ext cx="960522" cy="0"/>
          </a:xfrm>
          <a:prstGeom prst="line">
            <a:avLst/>
          </a:prstGeom>
          <a:ln w="1270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矩形 39"/>
          <p:cNvSpPr>
            <a:spLocks noChangeArrowheads="1"/>
          </p:cNvSpPr>
          <p:nvPr/>
        </p:nvSpPr>
        <p:spPr bwMode="auto">
          <a:xfrm>
            <a:off x="7439935" y="2762715"/>
            <a:ext cx="4054028" cy="410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sz="1600" dirty="0">
                <a:latin typeface="Agency FB" panose="020B0503020202020204" pitchFamily="34" charset="0"/>
                <a:cs typeface="Arial" panose="020B0604020202020204" pitchFamily="34" charset="0"/>
              </a:rPr>
              <a:t>2. </a:t>
            </a:r>
            <a:r>
              <a:rPr lang="zh-CN" altLang="en-US" sz="1600" dirty="0">
                <a:latin typeface="Agency FB" panose="020B0503020202020204" pitchFamily="34" charset="0"/>
                <a:cs typeface="Arial" panose="020B0604020202020204" pitchFamily="34" charset="0"/>
              </a:rPr>
              <a:t>扩展选取</a:t>
            </a:r>
            <a:endParaRPr lang="zh-CN" altLang="en-US" sz="1600" dirty="0">
              <a:latin typeface="Agency FB" panose="020B0503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矩形 42"/>
          <p:cNvSpPr>
            <a:spLocks noChangeArrowheads="1"/>
          </p:cNvSpPr>
          <p:nvPr/>
        </p:nvSpPr>
        <p:spPr bwMode="auto">
          <a:xfrm>
            <a:off x="7439935" y="4558226"/>
            <a:ext cx="4054027" cy="410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sz="1600">
                <a:latin typeface="Agency FB" panose="020B0503020202020204" pitchFamily="34" charset="0"/>
                <a:cs typeface="Arial" panose="020B0604020202020204" pitchFamily="34" charset="0"/>
              </a:rPr>
              <a:t>4. </a:t>
            </a:r>
            <a:r>
              <a:rPr lang="zh-CN" altLang="en-US" sz="1600">
                <a:latin typeface="Agency FB" panose="020B0503020202020204" pitchFamily="34" charset="0"/>
                <a:cs typeface="Arial" panose="020B0604020202020204" pitchFamily="34" charset="0"/>
              </a:rPr>
              <a:t>羽化选取</a:t>
            </a:r>
            <a:endParaRPr lang="zh-CN" altLang="en-US" sz="1600" dirty="0">
              <a:latin typeface="Agency FB" panose="020B0503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矩形 45"/>
          <p:cNvSpPr>
            <a:spLocks noChangeArrowheads="1"/>
          </p:cNvSpPr>
          <p:nvPr/>
        </p:nvSpPr>
        <p:spPr bwMode="auto">
          <a:xfrm>
            <a:off x="3714750" y="1853565"/>
            <a:ext cx="1538605" cy="410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1600" dirty="0">
                <a:latin typeface="Agency FB" panose="020B0503020202020204" pitchFamily="34" charset="0"/>
                <a:cs typeface="Arial" panose="020B0604020202020204" pitchFamily="34" charset="0"/>
              </a:rPr>
              <a:t>1. </a:t>
            </a:r>
            <a:r>
              <a:rPr lang="zh-CN" altLang="en-US" sz="1600" dirty="0">
                <a:latin typeface="Agency FB" panose="020B0503020202020204" pitchFamily="34" charset="0"/>
                <a:cs typeface="Arial" panose="020B0604020202020204" pitchFamily="34" charset="0"/>
              </a:rPr>
              <a:t>新建，布局</a:t>
            </a:r>
            <a:endParaRPr lang="zh-CN" altLang="en-US" sz="1600" dirty="0">
              <a:latin typeface="Agency FB" panose="020B0503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矩形 48"/>
          <p:cNvSpPr>
            <a:spLocks noChangeArrowheads="1"/>
          </p:cNvSpPr>
          <p:nvPr/>
        </p:nvSpPr>
        <p:spPr bwMode="auto">
          <a:xfrm>
            <a:off x="3771265" y="3651885"/>
            <a:ext cx="1666240" cy="410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1600">
                <a:latin typeface="Agency FB" panose="020B0503020202020204" pitchFamily="34" charset="0"/>
                <a:cs typeface="Arial" panose="020B0604020202020204" pitchFamily="34" charset="0"/>
              </a:rPr>
              <a:t>3. </a:t>
            </a:r>
            <a:r>
              <a:rPr lang="zh-CN" altLang="en-US" sz="1600">
                <a:latin typeface="Agency FB" panose="020B0503020202020204" pitchFamily="34" charset="0"/>
                <a:cs typeface="Arial" panose="020B0604020202020204" pitchFamily="34" charset="0"/>
              </a:rPr>
              <a:t>缩放选取</a:t>
            </a:r>
            <a:endParaRPr lang="zh-CN" altLang="en-US" sz="1600" dirty="0">
              <a:latin typeface="Agency FB" panose="020B0503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矩形 51"/>
          <p:cNvSpPr>
            <a:spLocks noChangeArrowheads="1"/>
          </p:cNvSpPr>
          <p:nvPr/>
        </p:nvSpPr>
        <p:spPr bwMode="auto">
          <a:xfrm>
            <a:off x="3862705" y="5431155"/>
            <a:ext cx="1800225" cy="410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lnSpc>
                <a:spcPct val="130000"/>
              </a:lnSpc>
            </a:pPr>
            <a:r>
              <a:rPr lang="en-US" sz="1600">
                <a:latin typeface="Agency FB" panose="020B0503020202020204" pitchFamily="34" charset="0"/>
                <a:cs typeface="Arial" panose="020B0604020202020204" pitchFamily="34" charset="0"/>
              </a:rPr>
              <a:t>5. </a:t>
            </a:r>
            <a:r>
              <a:rPr lang="zh-CN" altLang="en-US" sz="1600">
                <a:latin typeface="Agency FB" panose="020B0503020202020204" pitchFamily="34" charset="0"/>
                <a:cs typeface="Arial" panose="020B0604020202020204" pitchFamily="34" charset="0"/>
              </a:rPr>
              <a:t>调整完成</a:t>
            </a:r>
            <a:endParaRPr lang="zh-CN" altLang="en-US" sz="1600" dirty="0">
              <a:latin typeface="Agency FB" panose="020B0503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216400" y="3307715"/>
            <a:ext cx="5099050" cy="575945"/>
          </a:xfrm>
        </p:spPr>
        <p:txBody>
          <a:bodyPr>
            <a:normAutofit fontScale="90000"/>
          </a:bodyPr>
          <a:lstStyle/>
          <a:p>
            <a:r>
              <a:rPr lang="zh-CN" altLang="en-US" sz="3600">
                <a:solidFill>
                  <a:schemeClr val="accent3"/>
                </a:solidFill>
              </a:rPr>
              <a:t>不规则范围选取的基本方法</a:t>
            </a:r>
            <a:endParaRPr lang="zh-CN" altLang="en-US" sz="3600">
              <a:solidFill>
                <a:schemeClr val="accent3"/>
              </a:solidFill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3186627" y="3148020"/>
            <a:ext cx="1029774" cy="895350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3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>
              <a:solidFill>
                <a:schemeClr val="accent3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13971" y="4700478"/>
            <a:ext cx="9471552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10609243" y="4700478"/>
            <a:ext cx="1596728" cy="0"/>
          </a:xfrm>
          <a:prstGeom prst="line">
            <a:avLst/>
          </a:prstGeom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不规则选取的基本方法</a:t>
            </a:r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2863850" y="2098675"/>
            <a:ext cx="5936615" cy="2861310"/>
          </a:xfrm>
          <a:prstGeom prst="rect">
            <a:avLst/>
          </a:prstGeom>
          <a:ln w="28575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p>
            <a:pPr indent="457200" fontAlgn="auto">
              <a:lnSpc>
                <a:spcPct val="150000"/>
              </a:lnSpc>
            </a:pPr>
            <a:r>
              <a:rPr lang="en-US" altLang="zh-CN" sz="2400"/>
              <a:t> </a:t>
            </a:r>
            <a:r>
              <a:rPr lang="zh-CN" altLang="en-US" sz="2400"/>
              <a:t>相对于规则范围的选取来说，不规则范围选取的难度在于范围选取控制的准确性上。</a:t>
            </a:r>
            <a:r>
              <a:rPr lang="en-US" altLang="zh-CN" sz="2400"/>
              <a:t>Photoshop</a:t>
            </a:r>
            <a:r>
              <a:rPr lang="zh-CN" altLang="en-US" sz="2400"/>
              <a:t>特别提供的多种工具和途径来进行不规则范围的选取，其中以使用魔棒工具最为方便。</a:t>
            </a:r>
            <a:endParaRPr lang="zh-CN" altLang="en-US" sz="240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2452278" y="3078105"/>
            <a:ext cx="6276566" cy="853593"/>
          </a:xfrm>
        </p:spPr>
        <p:txBody>
          <a:bodyPr>
            <a:normAutofit fontScale="90000"/>
          </a:bodyPr>
          <a:lstStyle/>
          <a:p>
            <a:pPr>
              <a:lnSpc>
                <a:spcPct val="110000"/>
              </a:lnSpc>
            </a:pPr>
            <a:r>
              <a:rPr lang="en-US" altLang="zh-CN" sz="5400" b="0">
                <a:solidFill>
                  <a:schemeClr val="bg1"/>
                </a:solidFill>
                <a:latin typeface="Impact" panose="020B0806030902050204" pitchFamily="34" charset="0"/>
              </a:rPr>
              <a:t>Thanks</a:t>
            </a:r>
            <a:endParaRPr lang="zh-CN" altLang="en-US" sz="6000" b="0">
              <a:solidFill>
                <a:schemeClr val="bg1"/>
              </a:solidFill>
              <a:latin typeface="Impact" panose="020B0806030902050204" pitchFamily="34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THINKCELLSHAPEDONOTDELETE" val="thinkcellActiveDocDoNotDelete"/>
</p:tagLst>
</file>

<file path=ppt/tags/tag4.xml><?xml version="1.0" encoding="utf-8"?>
<p:tagLst xmlns:p="http://schemas.openxmlformats.org/presentationml/2006/main">
  <p:tag name="THINKCELLSHAPEDONOTDELETE" val="tA6S0wzOvQ8a50SA42PUNRg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94D8"/>
      </a:accent1>
      <a:accent2>
        <a:srgbClr val="89D4F4"/>
      </a:accent2>
      <a:accent3>
        <a:srgbClr val="FC6C5C"/>
      </a:accent3>
      <a:accent4>
        <a:srgbClr val="0079BF"/>
      </a:accent4>
      <a:accent5>
        <a:srgbClr val="FFBB3B"/>
      </a:accent5>
      <a:accent6>
        <a:srgbClr val="E7EBDF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94D8"/>
    </a:accent1>
    <a:accent2>
      <a:srgbClr val="89D4F4"/>
    </a:accent2>
    <a:accent3>
      <a:srgbClr val="FC6C5C"/>
    </a:accent3>
    <a:accent4>
      <a:srgbClr val="0079BF"/>
    </a:accent4>
    <a:accent5>
      <a:srgbClr val="FFBB3B"/>
    </a:accent5>
    <a:accent6>
      <a:srgbClr val="E7EBDF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94D8"/>
    </a:accent1>
    <a:accent2>
      <a:srgbClr val="89D4F4"/>
    </a:accent2>
    <a:accent3>
      <a:srgbClr val="FC6C5C"/>
    </a:accent3>
    <a:accent4>
      <a:srgbClr val="0079BF"/>
    </a:accent4>
    <a:accent5>
      <a:srgbClr val="FFBB3B"/>
    </a:accent5>
    <a:accent6>
      <a:srgbClr val="E7EBDF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94D8"/>
    </a:accent1>
    <a:accent2>
      <a:srgbClr val="89D4F4"/>
    </a:accent2>
    <a:accent3>
      <a:srgbClr val="FC6C5C"/>
    </a:accent3>
    <a:accent4>
      <a:srgbClr val="0079BF"/>
    </a:accent4>
    <a:accent5>
      <a:srgbClr val="FFBB3B"/>
    </a:accent5>
    <a:accent6>
      <a:srgbClr val="E7EBDF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309</Words>
  <Application>WPS 演示</Application>
  <PresentationFormat>宽屏</PresentationFormat>
  <Paragraphs>47</Paragraphs>
  <Slides>9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9</vt:i4>
      </vt:variant>
    </vt:vector>
  </HeadingPairs>
  <TitlesOfParts>
    <vt:vector size="21" baseType="lpstr">
      <vt:lpstr>Arial</vt:lpstr>
      <vt:lpstr>宋体</vt:lpstr>
      <vt:lpstr>Wingdings</vt:lpstr>
      <vt:lpstr>微软雅黑</vt:lpstr>
      <vt:lpstr>Impact</vt:lpstr>
      <vt:lpstr>Agency FB</vt:lpstr>
      <vt:lpstr>Arial Unicode MS</vt:lpstr>
      <vt:lpstr>Calibri</vt:lpstr>
      <vt:lpstr>NumberOnly</vt:lpstr>
      <vt:lpstr>主题5</vt:lpstr>
      <vt:lpstr>TCLayout.ActiveDocument.1</vt:lpstr>
      <vt:lpstr>TCLayout.ActiveDocument.1</vt:lpstr>
      <vt:lpstr>第四课   选取范围的方法</vt:lpstr>
      <vt:lpstr>PowerPoint 演示文稿</vt:lpstr>
      <vt:lpstr>常用范围选取工具</vt:lpstr>
      <vt:lpstr>常用范围选取工具</vt:lpstr>
      <vt:lpstr>规则范围选取的基本方法</vt:lpstr>
      <vt:lpstr>规则范围选取的基本方法</vt:lpstr>
      <vt:lpstr>不规则范围选取的基本方法</vt:lpstr>
      <vt:lpstr>不规则选取的基本方法</vt:lpstr>
      <vt:lpstr>Thanks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Administrator</cp:lastModifiedBy>
  <cp:revision>185</cp:revision>
  <cp:lastPrinted>2017-11-14T16:00:00Z</cp:lastPrinted>
  <dcterms:created xsi:type="dcterms:W3CDTF">2017-11-14T16:00:00Z</dcterms:created>
  <dcterms:modified xsi:type="dcterms:W3CDTF">2020-03-03T08:2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7520</vt:lpwstr>
  </property>
</Properties>
</file>